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media/image2.bin" ContentType="image/png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media/image3.bin" ContentType="image/png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2"/>
  </p:notesMasterIdLst>
  <p:sldIdLst>
    <p:sldId id="256" r:id="rId3"/>
    <p:sldId id="498" r:id="rId4"/>
    <p:sldId id="471" r:id="rId5"/>
    <p:sldId id="481" r:id="rId6"/>
    <p:sldId id="483" r:id="rId7"/>
    <p:sldId id="484" r:id="rId8"/>
    <p:sldId id="473" r:id="rId9"/>
    <p:sldId id="489" r:id="rId10"/>
    <p:sldId id="499" r:id="rId11"/>
    <p:sldId id="503" r:id="rId12"/>
    <p:sldId id="474" r:id="rId13"/>
    <p:sldId id="507" r:id="rId14"/>
    <p:sldId id="508" r:id="rId15"/>
    <p:sldId id="475" r:id="rId16"/>
    <p:sldId id="506" r:id="rId17"/>
    <p:sldId id="476" r:id="rId18"/>
    <p:sldId id="511" r:id="rId19"/>
    <p:sldId id="510" r:id="rId20"/>
    <p:sldId id="512" r:id="rId2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3187D70-DCCE-4843-988D-9D60038F6D55}">
          <p14:sldIdLst>
            <p14:sldId id="256"/>
            <p14:sldId id="498"/>
            <p14:sldId id="471"/>
            <p14:sldId id="481"/>
            <p14:sldId id="483"/>
            <p14:sldId id="484"/>
            <p14:sldId id="473"/>
            <p14:sldId id="489"/>
            <p14:sldId id="499"/>
            <p14:sldId id="503"/>
            <p14:sldId id="474"/>
            <p14:sldId id="507"/>
            <p14:sldId id="508"/>
            <p14:sldId id="475"/>
            <p14:sldId id="506"/>
            <p14:sldId id="476"/>
            <p14:sldId id="511"/>
            <p14:sldId id="510"/>
            <p14:sldId id="51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6A38"/>
    <a:srgbClr val="0D8390"/>
    <a:srgbClr val="26890D"/>
    <a:srgbClr val="86BC25"/>
    <a:srgbClr val="005587"/>
    <a:srgbClr val="007C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744" y="4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6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1AD182-A6EC-4D44-BC17-2519D80664E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945879-8AD2-472F-9840-E68DD99192A1}">
      <dgm:prSet phldrT="[Text]" custT="1"/>
      <dgm:spPr>
        <a:noFill/>
      </dgm:spPr>
      <dgm:t>
        <a:bodyPr/>
        <a:lstStyle/>
        <a:p>
          <a:pPr>
            <a:buSzPct val="100000"/>
            <a:buFont typeface="Arial"/>
            <a:buChar char="•"/>
          </a:pPr>
          <a:r>
            <a:rPr lang="de-DE" sz="1800" dirty="0">
              <a:solidFill>
                <a:schemeClr val="tx1"/>
              </a:solidFill>
            </a:rPr>
            <a:t>Transport </a:t>
          </a:r>
          <a:r>
            <a:rPr lang="de-DE" sz="1800" dirty="0" err="1">
              <a:solidFill>
                <a:schemeClr val="tx1"/>
              </a:solidFill>
            </a:rPr>
            <a:t>entir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osition</a:t>
          </a:r>
          <a:endParaRPr lang="de-DE" sz="1800" dirty="0">
            <a:solidFill>
              <a:schemeClr val="tx1"/>
            </a:solidFill>
          </a:endParaRPr>
        </a:p>
      </dgm:t>
    </dgm:pt>
    <dgm:pt modelId="{49FF4A1D-A73E-4F35-B566-44A782E27A43}" type="parTrans" cxnId="{00F98DFC-783F-40A5-915F-6EE3EC0C52D3}">
      <dgm:prSet/>
      <dgm:spPr/>
      <dgm:t>
        <a:bodyPr/>
        <a:lstStyle/>
        <a:p>
          <a:endParaRPr lang="de-DE"/>
        </a:p>
      </dgm:t>
    </dgm:pt>
    <dgm:pt modelId="{0D411981-CEA5-475B-BB3F-69416677B132}" type="sibTrans" cxnId="{00F98DFC-783F-40A5-915F-6EE3EC0C52D3}">
      <dgm:prSet/>
      <dgm:spPr/>
      <dgm:t>
        <a:bodyPr/>
        <a:lstStyle/>
        <a:p>
          <a:endParaRPr lang="de-DE"/>
        </a:p>
      </dgm:t>
    </dgm:pt>
    <dgm:pt modelId="{30D90061-E841-4746-BE97-26142A473E89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Move </a:t>
          </a:r>
          <a:r>
            <a:rPr lang="de-DE" sz="1800" dirty="0" err="1">
              <a:solidFill>
                <a:schemeClr val="tx1"/>
              </a:solidFill>
            </a:rPr>
            <a:t>herd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</a:t>
          </a:r>
        </a:p>
      </dgm:t>
    </dgm:pt>
    <dgm:pt modelId="{3DA96048-D8D1-40F9-8AED-B72440D8A8F8}" type="parTrans" cxnId="{3147D20E-8F24-4D61-8BD3-BBDBFFD539F2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6D153117-E330-4F75-9F53-1018A6DA33A3}" type="sibTrans" cxnId="{3147D20E-8F24-4D61-8BD3-BBDBFFD539F2}">
      <dgm:prSet/>
      <dgm:spPr/>
      <dgm:t>
        <a:bodyPr/>
        <a:lstStyle/>
        <a:p>
          <a:endParaRPr lang="de-DE"/>
        </a:p>
      </dgm:t>
    </dgm:pt>
    <dgm:pt modelId="{C0CAE838-A696-4DDE-B2CE-66101AE8E7CE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 err="1">
              <a:solidFill>
                <a:schemeClr val="tx1"/>
              </a:solidFill>
            </a:rPr>
            <a:t>Don‘t</a:t>
          </a:r>
          <a:r>
            <a:rPr lang="de-DE" sz="1800" dirty="0">
              <a:solidFill>
                <a:schemeClr val="tx1"/>
              </a:solidFill>
            </a:rPr>
            <a:t> lose </a:t>
          </a:r>
          <a:r>
            <a:rPr lang="de-DE" sz="1800" dirty="0" err="1">
              <a:solidFill>
                <a:schemeClr val="tx1"/>
              </a:solidFill>
            </a:rPr>
            <a:t>any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th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process</a:t>
          </a:r>
          <a:endParaRPr lang="de-DE" sz="1800" dirty="0">
            <a:solidFill>
              <a:schemeClr val="tx1"/>
            </a:solidFill>
          </a:endParaRPr>
        </a:p>
      </dgm:t>
    </dgm:pt>
    <dgm:pt modelId="{5F1165BC-C189-42A6-9379-1D285D0AF91D}" type="parTrans" cxnId="{B71B29CC-F50B-4C33-AB81-58BF65440904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71CC699-64A3-4DF1-B82F-C6E99B52CF54}" type="sibTrans" cxnId="{B71B29CC-F50B-4C33-AB81-58BF65440904}">
      <dgm:prSet/>
      <dgm:spPr/>
      <dgm:t>
        <a:bodyPr/>
        <a:lstStyle/>
        <a:p>
          <a:endParaRPr lang="de-DE"/>
        </a:p>
      </dgm:t>
    </dgm:pt>
    <dgm:pt modelId="{578DBCF9-8F1D-4DDA-96F0-6DE554F5D0A6}">
      <dgm:prSet phldrT="[Text]" custT="1"/>
      <dgm:spPr>
        <a:noFill/>
      </dgm:spPr>
      <dgm:t>
        <a:bodyPr/>
        <a:lstStyle/>
        <a:p>
          <a:pPr>
            <a:buSzPct val="100000"/>
            <a:buFont typeface="+mj-lt"/>
            <a:buAutoNum type="arabicPeriod"/>
          </a:pPr>
          <a:r>
            <a:rPr lang="de-DE" sz="1800" dirty="0">
              <a:solidFill>
                <a:schemeClr val="tx1"/>
              </a:solidFill>
            </a:rPr>
            <a:t>Keep </a:t>
          </a:r>
          <a:r>
            <a:rPr lang="de-DE" sz="1800" dirty="0" err="1">
              <a:solidFill>
                <a:schemeClr val="tx1"/>
              </a:solidFill>
            </a:rPr>
            <a:t>agents</a:t>
          </a:r>
          <a:r>
            <a:rPr lang="de-DE" sz="1800" dirty="0">
              <a:solidFill>
                <a:schemeClr val="tx1"/>
              </a:solidFill>
            </a:rPr>
            <a:t> and </a:t>
          </a:r>
          <a:r>
            <a:rPr lang="de-DE" sz="1800" dirty="0" err="1">
              <a:solidFill>
                <a:schemeClr val="tx1"/>
              </a:solidFill>
            </a:rPr>
            <a:t>target</a:t>
          </a:r>
          <a:r>
            <a:rPr lang="de-DE" sz="1800" dirty="0">
              <a:solidFill>
                <a:schemeClr val="tx1"/>
              </a:solidFill>
            </a:rPr>
            <a:t> in </a:t>
          </a:r>
          <a:r>
            <a:rPr lang="de-DE" sz="1800" dirty="0" err="1">
              <a:solidFill>
                <a:schemeClr val="tx1"/>
              </a:solidFill>
            </a:rPr>
            <a:t>alignment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to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maintain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line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of</a:t>
          </a:r>
          <a:r>
            <a:rPr lang="de-DE" sz="1800" dirty="0">
              <a:solidFill>
                <a:schemeClr val="tx1"/>
              </a:solidFill>
            </a:rPr>
            <a:t> </a:t>
          </a:r>
          <a:r>
            <a:rPr lang="de-DE" sz="1800" dirty="0" err="1">
              <a:solidFill>
                <a:schemeClr val="tx1"/>
              </a:solidFill>
            </a:rPr>
            <a:t>sight</a:t>
          </a:r>
          <a:endParaRPr lang="de-DE" sz="1800" dirty="0">
            <a:solidFill>
              <a:schemeClr val="tx1"/>
            </a:solidFill>
          </a:endParaRPr>
        </a:p>
      </dgm:t>
    </dgm:pt>
    <dgm:pt modelId="{B34061C5-C9A2-457C-9DD5-6FA03A06D62D}" type="parTrans" cxnId="{5D038E2B-CDDE-445D-BFDD-4CAEA3B81B76}">
      <dgm:prSet/>
      <dgm:spPr>
        <a:ln>
          <a:solidFill>
            <a:schemeClr val="tx1"/>
          </a:solidFill>
        </a:ln>
      </dgm:spPr>
      <dgm:t>
        <a:bodyPr/>
        <a:lstStyle/>
        <a:p>
          <a:endParaRPr lang="de-DE"/>
        </a:p>
      </dgm:t>
    </dgm:pt>
    <dgm:pt modelId="{5C0B2448-4157-430E-9463-9FD5A0F19EC1}" type="sibTrans" cxnId="{5D038E2B-CDDE-445D-BFDD-4CAEA3B81B76}">
      <dgm:prSet/>
      <dgm:spPr/>
      <dgm:t>
        <a:bodyPr/>
        <a:lstStyle/>
        <a:p>
          <a:endParaRPr lang="de-DE"/>
        </a:p>
      </dgm:t>
    </dgm:pt>
    <dgm:pt modelId="{D8604D25-CDAC-467D-B244-2C43AECF06C8}" type="pres">
      <dgm:prSet presAssocID="{E21AD182-A6EC-4D44-BC17-2519D80664E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9F39E2B-5F17-4583-944A-3B05C87A24CB}" type="pres">
      <dgm:prSet presAssocID="{2C945879-8AD2-472F-9840-E68DD99192A1}" presName="hierRoot1" presStyleCnt="0">
        <dgm:presLayoutVars>
          <dgm:hierBranch val="init"/>
        </dgm:presLayoutVars>
      </dgm:prSet>
      <dgm:spPr/>
    </dgm:pt>
    <dgm:pt modelId="{1CFBDFCE-CEC4-4185-B1F1-D7C79C567F8F}" type="pres">
      <dgm:prSet presAssocID="{2C945879-8AD2-472F-9840-E68DD99192A1}" presName="rootComposite1" presStyleCnt="0"/>
      <dgm:spPr/>
    </dgm:pt>
    <dgm:pt modelId="{FD4C710B-AAD3-4FDE-9DB7-116B9D1C0776}" type="pres">
      <dgm:prSet presAssocID="{2C945879-8AD2-472F-9840-E68DD99192A1}" presName="rootText1" presStyleLbl="node0" presStyleIdx="0" presStyleCnt="1" custScaleY="71791" custLinFactNeighborY="-41990">
        <dgm:presLayoutVars>
          <dgm:chPref val="3"/>
        </dgm:presLayoutVars>
      </dgm:prSet>
      <dgm:spPr/>
    </dgm:pt>
    <dgm:pt modelId="{8505635A-4C5A-48C8-9EB8-D408F4450400}" type="pres">
      <dgm:prSet presAssocID="{2C945879-8AD2-472F-9840-E68DD99192A1}" presName="rootConnector1" presStyleLbl="node1" presStyleIdx="0" presStyleCnt="0"/>
      <dgm:spPr/>
    </dgm:pt>
    <dgm:pt modelId="{F0754389-6614-47AD-9338-FD90A29C897D}" type="pres">
      <dgm:prSet presAssocID="{2C945879-8AD2-472F-9840-E68DD99192A1}" presName="hierChild2" presStyleCnt="0"/>
      <dgm:spPr/>
    </dgm:pt>
    <dgm:pt modelId="{C96E89EB-24BE-4D1D-8441-A7A363D9D05C}" type="pres">
      <dgm:prSet presAssocID="{3DA96048-D8D1-40F9-8AED-B72440D8A8F8}" presName="Name37" presStyleLbl="parChTrans1D2" presStyleIdx="0" presStyleCnt="3"/>
      <dgm:spPr/>
    </dgm:pt>
    <dgm:pt modelId="{9C9B919D-3F8C-4A6E-AF74-940A578F3D6F}" type="pres">
      <dgm:prSet presAssocID="{30D90061-E841-4746-BE97-26142A473E89}" presName="hierRoot2" presStyleCnt="0">
        <dgm:presLayoutVars>
          <dgm:hierBranch val="init"/>
        </dgm:presLayoutVars>
      </dgm:prSet>
      <dgm:spPr/>
    </dgm:pt>
    <dgm:pt modelId="{D8C0D81B-4F0A-485F-858A-FDDBA51F05FF}" type="pres">
      <dgm:prSet presAssocID="{30D90061-E841-4746-BE97-26142A473E89}" presName="rootComposite" presStyleCnt="0"/>
      <dgm:spPr/>
    </dgm:pt>
    <dgm:pt modelId="{27A1F63E-023D-44DA-8371-BC00D7566CA4}" type="pres">
      <dgm:prSet presAssocID="{30D90061-E841-4746-BE97-26142A473E89}" presName="rootText" presStyleLbl="node2" presStyleIdx="0" presStyleCnt="3">
        <dgm:presLayoutVars>
          <dgm:chPref val="3"/>
        </dgm:presLayoutVars>
      </dgm:prSet>
      <dgm:spPr/>
    </dgm:pt>
    <dgm:pt modelId="{EA1BF1D8-01BA-4ACC-A610-7DEBCC60783E}" type="pres">
      <dgm:prSet presAssocID="{30D90061-E841-4746-BE97-26142A473E89}" presName="rootConnector" presStyleLbl="node2" presStyleIdx="0" presStyleCnt="3"/>
      <dgm:spPr/>
    </dgm:pt>
    <dgm:pt modelId="{2C67436C-6CB3-41D9-A670-DF14BE952D65}" type="pres">
      <dgm:prSet presAssocID="{30D90061-E841-4746-BE97-26142A473E89}" presName="hierChild4" presStyleCnt="0"/>
      <dgm:spPr/>
    </dgm:pt>
    <dgm:pt modelId="{5725FA93-177E-4536-86C8-F4F16AC31A6B}" type="pres">
      <dgm:prSet presAssocID="{30D90061-E841-4746-BE97-26142A473E89}" presName="hierChild5" presStyleCnt="0"/>
      <dgm:spPr/>
    </dgm:pt>
    <dgm:pt modelId="{260AF645-DB45-4CC8-9E97-FBC8ECF32B5D}" type="pres">
      <dgm:prSet presAssocID="{5F1165BC-C189-42A6-9379-1D285D0AF91D}" presName="Name37" presStyleLbl="parChTrans1D2" presStyleIdx="1" presStyleCnt="3"/>
      <dgm:spPr/>
    </dgm:pt>
    <dgm:pt modelId="{9B78538E-39D4-4773-A28E-DCC51F80DD2A}" type="pres">
      <dgm:prSet presAssocID="{C0CAE838-A696-4DDE-B2CE-66101AE8E7CE}" presName="hierRoot2" presStyleCnt="0">
        <dgm:presLayoutVars>
          <dgm:hierBranch val="init"/>
        </dgm:presLayoutVars>
      </dgm:prSet>
      <dgm:spPr/>
    </dgm:pt>
    <dgm:pt modelId="{0C7D22B4-4EE9-48DD-A30A-CB43F2F53E02}" type="pres">
      <dgm:prSet presAssocID="{C0CAE838-A696-4DDE-B2CE-66101AE8E7CE}" presName="rootComposite" presStyleCnt="0"/>
      <dgm:spPr/>
    </dgm:pt>
    <dgm:pt modelId="{7F886F2F-B8AD-4EFE-8619-8AEE2B3C7225}" type="pres">
      <dgm:prSet presAssocID="{C0CAE838-A696-4DDE-B2CE-66101AE8E7CE}" presName="rootText" presStyleLbl="node2" presStyleIdx="1" presStyleCnt="3">
        <dgm:presLayoutVars>
          <dgm:chPref val="3"/>
        </dgm:presLayoutVars>
      </dgm:prSet>
      <dgm:spPr/>
    </dgm:pt>
    <dgm:pt modelId="{CA59E733-8A9F-457B-803E-DEAF2B4F7EBD}" type="pres">
      <dgm:prSet presAssocID="{C0CAE838-A696-4DDE-B2CE-66101AE8E7CE}" presName="rootConnector" presStyleLbl="node2" presStyleIdx="1" presStyleCnt="3"/>
      <dgm:spPr/>
    </dgm:pt>
    <dgm:pt modelId="{6BAE4FCB-75F6-494F-903E-454AD18A4521}" type="pres">
      <dgm:prSet presAssocID="{C0CAE838-A696-4DDE-B2CE-66101AE8E7CE}" presName="hierChild4" presStyleCnt="0"/>
      <dgm:spPr/>
    </dgm:pt>
    <dgm:pt modelId="{CEB4F6AF-9927-4040-ACC5-4EB175431EDD}" type="pres">
      <dgm:prSet presAssocID="{C0CAE838-A696-4DDE-B2CE-66101AE8E7CE}" presName="hierChild5" presStyleCnt="0"/>
      <dgm:spPr/>
    </dgm:pt>
    <dgm:pt modelId="{8C95F618-3F46-40FE-AB54-ABDC68814E1C}" type="pres">
      <dgm:prSet presAssocID="{B34061C5-C9A2-457C-9DD5-6FA03A06D62D}" presName="Name37" presStyleLbl="parChTrans1D2" presStyleIdx="2" presStyleCnt="3"/>
      <dgm:spPr/>
    </dgm:pt>
    <dgm:pt modelId="{153207D0-C637-4B6B-B668-B45A57C76094}" type="pres">
      <dgm:prSet presAssocID="{578DBCF9-8F1D-4DDA-96F0-6DE554F5D0A6}" presName="hierRoot2" presStyleCnt="0">
        <dgm:presLayoutVars>
          <dgm:hierBranch val="init"/>
        </dgm:presLayoutVars>
      </dgm:prSet>
      <dgm:spPr/>
    </dgm:pt>
    <dgm:pt modelId="{CB732701-EBC6-4C1B-A138-C9D40AC8580B}" type="pres">
      <dgm:prSet presAssocID="{578DBCF9-8F1D-4DDA-96F0-6DE554F5D0A6}" presName="rootComposite" presStyleCnt="0"/>
      <dgm:spPr/>
    </dgm:pt>
    <dgm:pt modelId="{2D412D9C-3583-4EFB-A80C-9B846AC10124}" type="pres">
      <dgm:prSet presAssocID="{578DBCF9-8F1D-4DDA-96F0-6DE554F5D0A6}" presName="rootText" presStyleLbl="node2" presStyleIdx="2" presStyleCnt="3">
        <dgm:presLayoutVars>
          <dgm:chPref val="3"/>
        </dgm:presLayoutVars>
      </dgm:prSet>
      <dgm:spPr/>
    </dgm:pt>
    <dgm:pt modelId="{1C992205-05BB-486D-B816-EFD39E4C93BC}" type="pres">
      <dgm:prSet presAssocID="{578DBCF9-8F1D-4DDA-96F0-6DE554F5D0A6}" presName="rootConnector" presStyleLbl="node2" presStyleIdx="2" presStyleCnt="3"/>
      <dgm:spPr/>
    </dgm:pt>
    <dgm:pt modelId="{92DCCE64-F885-458A-9AA7-043FAB7E02E5}" type="pres">
      <dgm:prSet presAssocID="{578DBCF9-8F1D-4DDA-96F0-6DE554F5D0A6}" presName="hierChild4" presStyleCnt="0"/>
      <dgm:spPr/>
    </dgm:pt>
    <dgm:pt modelId="{D9D3CE67-B5F0-46B6-B87E-F19FF0B552B9}" type="pres">
      <dgm:prSet presAssocID="{578DBCF9-8F1D-4DDA-96F0-6DE554F5D0A6}" presName="hierChild5" presStyleCnt="0"/>
      <dgm:spPr/>
    </dgm:pt>
    <dgm:pt modelId="{81DD0AFF-C255-4892-83EE-5BAEE20BFF24}" type="pres">
      <dgm:prSet presAssocID="{2C945879-8AD2-472F-9840-E68DD99192A1}" presName="hierChild3" presStyleCnt="0"/>
      <dgm:spPr/>
    </dgm:pt>
  </dgm:ptLst>
  <dgm:cxnLst>
    <dgm:cxn modelId="{3147D20E-8F24-4D61-8BD3-BBDBFFD539F2}" srcId="{2C945879-8AD2-472F-9840-E68DD99192A1}" destId="{30D90061-E841-4746-BE97-26142A473E89}" srcOrd="0" destOrd="0" parTransId="{3DA96048-D8D1-40F9-8AED-B72440D8A8F8}" sibTransId="{6D153117-E330-4F75-9F53-1018A6DA33A3}"/>
    <dgm:cxn modelId="{5D038E2B-CDDE-445D-BFDD-4CAEA3B81B76}" srcId="{2C945879-8AD2-472F-9840-E68DD99192A1}" destId="{578DBCF9-8F1D-4DDA-96F0-6DE554F5D0A6}" srcOrd="2" destOrd="0" parTransId="{B34061C5-C9A2-457C-9DD5-6FA03A06D62D}" sibTransId="{5C0B2448-4157-430E-9463-9FD5A0F19EC1}"/>
    <dgm:cxn modelId="{E9BB0D34-AA16-44FB-8007-0E7D28FBD482}" type="presOf" srcId="{B34061C5-C9A2-457C-9DD5-6FA03A06D62D}" destId="{8C95F618-3F46-40FE-AB54-ABDC68814E1C}" srcOrd="0" destOrd="0" presId="urn:microsoft.com/office/officeart/2005/8/layout/orgChart1"/>
    <dgm:cxn modelId="{BD1DD437-4249-4EB2-B75B-A3643EDFE289}" type="presOf" srcId="{30D90061-E841-4746-BE97-26142A473E89}" destId="{27A1F63E-023D-44DA-8371-BC00D7566CA4}" srcOrd="0" destOrd="0" presId="urn:microsoft.com/office/officeart/2005/8/layout/orgChart1"/>
    <dgm:cxn modelId="{E5200360-A852-4E9D-A8DD-12F4A67E4383}" type="presOf" srcId="{2C945879-8AD2-472F-9840-E68DD99192A1}" destId="{8505635A-4C5A-48C8-9EB8-D408F4450400}" srcOrd="1" destOrd="0" presId="urn:microsoft.com/office/officeart/2005/8/layout/orgChart1"/>
    <dgm:cxn modelId="{BD79DE41-5082-4D12-ACAC-A771E299A9C0}" type="presOf" srcId="{E21AD182-A6EC-4D44-BC17-2519D80664EF}" destId="{D8604D25-CDAC-467D-B244-2C43AECF06C8}" srcOrd="0" destOrd="0" presId="urn:microsoft.com/office/officeart/2005/8/layout/orgChart1"/>
    <dgm:cxn modelId="{64FC9991-BFF4-4EBF-A46D-37214DDD7F08}" type="presOf" srcId="{578DBCF9-8F1D-4DDA-96F0-6DE554F5D0A6}" destId="{2D412D9C-3583-4EFB-A80C-9B846AC10124}" srcOrd="0" destOrd="0" presId="urn:microsoft.com/office/officeart/2005/8/layout/orgChart1"/>
    <dgm:cxn modelId="{BE9B10AE-D6E9-4ACC-B2E6-45EC68A374F0}" type="presOf" srcId="{5F1165BC-C189-42A6-9379-1D285D0AF91D}" destId="{260AF645-DB45-4CC8-9E97-FBC8ECF32B5D}" srcOrd="0" destOrd="0" presId="urn:microsoft.com/office/officeart/2005/8/layout/orgChart1"/>
    <dgm:cxn modelId="{E350EEB3-656C-4A30-BD0E-6A21C9FDC007}" type="presOf" srcId="{C0CAE838-A696-4DDE-B2CE-66101AE8E7CE}" destId="{CA59E733-8A9F-457B-803E-DEAF2B4F7EBD}" srcOrd="1" destOrd="0" presId="urn:microsoft.com/office/officeart/2005/8/layout/orgChart1"/>
    <dgm:cxn modelId="{1B6184BD-0CD4-4204-83B4-7624BBD49658}" type="presOf" srcId="{3DA96048-D8D1-40F9-8AED-B72440D8A8F8}" destId="{C96E89EB-24BE-4D1D-8441-A7A363D9D05C}" srcOrd="0" destOrd="0" presId="urn:microsoft.com/office/officeart/2005/8/layout/orgChart1"/>
    <dgm:cxn modelId="{B71B29CC-F50B-4C33-AB81-58BF65440904}" srcId="{2C945879-8AD2-472F-9840-E68DD99192A1}" destId="{C0CAE838-A696-4DDE-B2CE-66101AE8E7CE}" srcOrd="1" destOrd="0" parTransId="{5F1165BC-C189-42A6-9379-1D285D0AF91D}" sibTransId="{571CC699-64A3-4DF1-B82F-C6E99B52CF54}"/>
    <dgm:cxn modelId="{5F2481D6-3D86-4D46-803F-5E4EFC2BE32A}" type="presOf" srcId="{578DBCF9-8F1D-4DDA-96F0-6DE554F5D0A6}" destId="{1C992205-05BB-486D-B816-EFD39E4C93BC}" srcOrd="1" destOrd="0" presId="urn:microsoft.com/office/officeart/2005/8/layout/orgChart1"/>
    <dgm:cxn modelId="{052C23ED-867E-4E6C-82B1-CE5954A086B5}" type="presOf" srcId="{30D90061-E841-4746-BE97-26142A473E89}" destId="{EA1BF1D8-01BA-4ACC-A610-7DEBCC60783E}" srcOrd="1" destOrd="0" presId="urn:microsoft.com/office/officeart/2005/8/layout/orgChart1"/>
    <dgm:cxn modelId="{30DE6AF0-557A-4122-9623-70FBD1908ADB}" type="presOf" srcId="{2C945879-8AD2-472F-9840-E68DD99192A1}" destId="{FD4C710B-AAD3-4FDE-9DB7-116B9D1C0776}" srcOrd="0" destOrd="0" presId="urn:microsoft.com/office/officeart/2005/8/layout/orgChart1"/>
    <dgm:cxn modelId="{00F98DFC-783F-40A5-915F-6EE3EC0C52D3}" srcId="{E21AD182-A6EC-4D44-BC17-2519D80664EF}" destId="{2C945879-8AD2-472F-9840-E68DD99192A1}" srcOrd="0" destOrd="0" parTransId="{49FF4A1D-A73E-4F35-B566-44A782E27A43}" sibTransId="{0D411981-CEA5-475B-BB3F-69416677B132}"/>
    <dgm:cxn modelId="{32318DFF-F55F-4FEB-9030-0B3D0D0B1CEF}" type="presOf" srcId="{C0CAE838-A696-4DDE-B2CE-66101AE8E7CE}" destId="{7F886F2F-B8AD-4EFE-8619-8AEE2B3C7225}" srcOrd="0" destOrd="0" presId="urn:microsoft.com/office/officeart/2005/8/layout/orgChart1"/>
    <dgm:cxn modelId="{63AE3AF1-4081-4CAC-82C9-2FCF083DC96B}" type="presParOf" srcId="{D8604D25-CDAC-467D-B244-2C43AECF06C8}" destId="{39F39E2B-5F17-4583-944A-3B05C87A24CB}" srcOrd="0" destOrd="0" presId="urn:microsoft.com/office/officeart/2005/8/layout/orgChart1"/>
    <dgm:cxn modelId="{0089E89C-7AD1-480E-B593-6893CB1464B6}" type="presParOf" srcId="{39F39E2B-5F17-4583-944A-3B05C87A24CB}" destId="{1CFBDFCE-CEC4-4185-B1F1-D7C79C567F8F}" srcOrd="0" destOrd="0" presId="urn:microsoft.com/office/officeart/2005/8/layout/orgChart1"/>
    <dgm:cxn modelId="{831A069E-99B3-475A-A2AB-EED646C39A92}" type="presParOf" srcId="{1CFBDFCE-CEC4-4185-B1F1-D7C79C567F8F}" destId="{FD4C710B-AAD3-4FDE-9DB7-116B9D1C0776}" srcOrd="0" destOrd="0" presId="urn:microsoft.com/office/officeart/2005/8/layout/orgChart1"/>
    <dgm:cxn modelId="{C9482331-EF9F-4200-9FAD-56C1A4D6FBD8}" type="presParOf" srcId="{1CFBDFCE-CEC4-4185-B1F1-D7C79C567F8F}" destId="{8505635A-4C5A-48C8-9EB8-D408F4450400}" srcOrd="1" destOrd="0" presId="urn:microsoft.com/office/officeart/2005/8/layout/orgChart1"/>
    <dgm:cxn modelId="{C1B7EDD3-559D-4734-B25B-18C97D7B2224}" type="presParOf" srcId="{39F39E2B-5F17-4583-944A-3B05C87A24CB}" destId="{F0754389-6614-47AD-9338-FD90A29C897D}" srcOrd="1" destOrd="0" presId="urn:microsoft.com/office/officeart/2005/8/layout/orgChart1"/>
    <dgm:cxn modelId="{E672E46A-6CAC-4C91-B210-0B39A9F3782A}" type="presParOf" srcId="{F0754389-6614-47AD-9338-FD90A29C897D}" destId="{C96E89EB-24BE-4D1D-8441-A7A363D9D05C}" srcOrd="0" destOrd="0" presId="urn:microsoft.com/office/officeart/2005/8/layout/orgChart1"/>
    <dgm:cxn modelId="{B7061FAF-DB86-4454-9168-A90EF5FB3D99}" type="presParOf" srcId="{F0754389-6614-47AD-9338-FD90A29C897D}" destId="{9C9B919D-3F8C-4A6E-AF74-940A578F3D6F}" srcOrd="1" destOrd="0" presId="urn:microsoft.com/office/officeart/2005/8/layout/orgChart1"/>
    <dgm:cxn modelId="{4EFE61D3-31CC-41FC-ABA7-060A606EBD5B}" type="presParOf" srcId="{9C9B919D-3F8C-4A6E-AF74-940A578F3D6F}" destId="{D8C0D81B-4F0A-485F-858A-FDDBA51F05FF}" srcOrd="0" destOrd="0" presId="urn:microsoft.com/office/officeart/2005/8/layout/orgChart1"/>
    <dgm:cxn modelId="{AFD390DC-E920-4B25-A259-F6EDCAB11785}" type="presParOf" srcId="{D8C0D81B-4F0A-485F-858A-FDDBA51F05FF}" destId="{27A1F63E-023D-44DA-8371-BC00D7566CA4}" srcOrd="0" destOrd="0" presId="urn:microsoft.com/office/officeart/2005/8/layout/orgChart1"/>
    <dgm:cxn modelId="{6DE6F07A-66AF-42B1-8404-CA2FE7CDAFA8}" type="presParOf" srcId="{D8C0D81B-4F0A-485F-858A-FDDBA51F05FF}" destId="{EA1BF1D8-01BA-4ACC-A610-7DEBCC60783E}" srcOrd="1" destOrd="0" presId="urn:microsoft.com/office/officeart/2005/8/layout/orgChart1"/>
    <dgm:cxn modelId="{3F3CB089-7C28-494C-8E5C-8368B8E5CA98}" type="presParOf" srcId="{9C9B919D-3F8C-4A6E-AF74-940A578F3D6F}" destId="{2C67436C-6CB3-41D9-A670-DF14BE952D65}" srcOrd="1" destOrd="0" presId="urn:microsoft.com/office/officeart/2005/8/layout/orgChart1"/>
    <dgm:cxn modelId="{D77C6B06-A215-4624-80F6-CE784F050F63}" type="presParOf" srcId="{9C9B919D-3F8C-4A6E-AF74-940A578F3D6F}" destId="{5725FA93-177E-4536-86C8-F4F16AC31A6B}" srcOrd="2" destOrd="0" presId="urn:microsoft.com/office/officeart/2005/8/layout/orgChart1"/>
    <dgm:cxn modelId="{93AB06F4-2B0E-4A62-BA31-EFA1A0AE9754}" type="presParOf" srcId="{F0754389-6614-47AD-9338-FD90A29C897D}" destId="{260AF645-DB45-4CC8-9E97-FBC8ECF32B5D}" srcOrd="2" destOrd="0" presId="urn:microsoft.com/office/officeart/2005/8/layout/orgChart1"/>
    <dgm:cxn modelId="{33792486-3892-4B48-A237-EA6C605FE2B7}" type="presParOf" srcId="{F0754389-6614-47AD-9338-FD90A29C897D}" destId="{9B78538E-39D4-4773-A28E-DCC51F80DD2A}" srcOrd="3" destOrd="0" presId="urn:microsoft.com/office/officeart/2005/8/layout/orgChart1"/>
    <dgm:cxn modelId="{DFD31623-9E2F-49CC-BFD3-A6F7CC4BBC3C}" type="presParOf" srcId="{9B78538E-39D4-4773-A28E-DCC51F80DD2A}" destId="{0C7D22B4-4EE9-48DD-A30A-CB43F2F53E02}" srcOrd="0" destOrd="0" presId="urn:microsoft.com/office/officeart/2005/8/layout/orgChart1"/>
    <dgm:cxn modelId="{90EB3850-C193-40AB-8CC7-ECA7E11CAEF9}" type="presParOf" srcId="{0C7D22B4-4EE9-48DD-A30A-CB43F2F53E02}" destId="{7F886F2F-B8AD-4EFE-8619-8AEE2B3C7225}" srcOrd="0" destOrd="0" presId="urn:microsoft.com/office/officeart/2005/8/layout/orgChart1"/>
    <dgm:cxn modelId="{D385BBEF-020A-4BF9-AACF-5E3B1736CD0A}" type="presParOf" srcId="{0C7D22B4-4EE9-48DD-A30A-CB43F2F53E02}" destId="{CA59E733-8A9F-457B-803E-DEAF2B4F7EBD}" srcOrd="1" destOrd="0" presId="urn:microsoft.com/office/officeart/2005/8/layout/orgChart1"/>
    <dgm:cxn modelId="{BCD23F7C-9489-4EC4-ACAA-4C847312F6F8}" type="presParOf" srcId="{9B78538E-39D4-4773-A28E-DCC51F80DD2A}" destId="{6BAE4FCB-75F6-494F-903E-454AD18A4521}" srcOrd="1" destOrd="0" presId="urn:microsoft.com/office/officeart/2005/8/layout/orgChart1"/>
    <dgm:cxn modelId="{7A73B544-1978-4DC0-AFC8-0BAEF2E0DF13}" type="presParOf" srcId="{9B78538E-39D4-4773-A28E-DCC51F80DD2A}" destId="{CEB4F6AF-9927-4040-ACC5-4EB175431EDD}" srcOrd="2" destOrd="0" presId="urn:microsoft.com/office/officeart/2005/8/layout/orgChart1"/>
    <dgm:cxn modelId="{03B58060-0FA6-44AD-887E-F5AE929AD89E}" type="presParOf" srcId="{F0754389-6614-47AD-9338-FD90A29C897D}" destId="{8C95F618-3F46-40FE-AB54-ABDC68814E1C}" srcOrd="4" destOrd="0" presId="urn:microsoft.com/office/officeart/2005/8/layout/orgChart1"/>
    <dgm:cxn modelId="{742D444E-E54C-417B-8492-813EF984BC12}" type="presParOf" srcId="{F0754389-6614-47AD-9338-FD90A29C897D}" destId="{153207D0-C637-4B6B-B668-B45A57C76094}" srcOrd="5" destOrd="0" presId="urn:microsoft.com/office/officeart/2005/8/layout/orgChart1"/>
    <dgm:cxn modelId="{003BF6F7-EBF0-442A-8276-A3AE6CD40A79}" type="presParOf" srcId="{153207D0-C637-4B6B-B668-B45A57C76094}" destId="{CB732701-EBC6-4C1B-A138-C9D40AC8580B}" srcOrd="0" destOrd="0" presId="urn:microsoft.com/office/officeart/2005/8/layout/orgChart1"/>
    <dgm:cxn modelId="{9BD02949-2CA8-4B47-A554-8CA84316B3C6}" type="presParOf" srcId="{CB732701-EBC6-4C1B-A138-C9D40AC8580B}" destId="{2D412D9C-3583-4EFB-A80C-9B846AC10124}" srcOrd="0" destOrd="0" presId="urn:microsoft.com/office/officeart/2005/8/layout/orgChart1"/>
    <dgm:cxn modelId="{32E0CDB6-1295-4BA8-BC20-6E8CA7D1FC68}" type="presParOf" srcId="{CB732701-EBC6-4C1B-A138-C9D40AC8580B}" destId="{1C992205-05BB-486D-B816-EFD39E4C93BC}" srcOrd="1" destOrd="0" presId="urn:microsoft.com/office/officeart/2005/8/layout/orgChart1"/>
    <dgm:cxn modelId="{A197BB65-8AF0-45DB-B397-6D19B098F3E4}" type="presParOf" srcId="{153207D0-C637-4B6B-B668-B45A57C76094}" destId="{92DCCE64-F885-458A-9AA7-043FAB7E02E5}" srcOrd="1" destOrd="0" presId="urn:microsoft.com/office/officeart/2005/8/layout/orgChart1"/>
    <dgm:cxn modelId="{6A188787-3182-4589-917C-3EF6F9C5D785}" type="presParOf" srcId="{153207D0-C637-4B6B-B668-B45A57C76094}" destId="{D9D3CE67-B5F0-46B6-B87E-F19FF0B552B9}" srcOrd="2" destOrd="0" presId="urn:microsoft.com/office/officeart/2005/8/layout/orgChart1"/>
    <dgm:cxn modelId="{DFDE18FC-6164-4A79-8B79-9FDF7C006A90}" type="presParOf" srcId="{39F39E2B-5F17-4583-944A-3B05C87A24CB}" destId="{81DD0AFF-C255-4892-83EE-5BAEE20BFF24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5F618-3F46-40FE-AB54-ABDC68814E1C}">
      <dsp:nvSpPr>
        <dsp:cNvPr id="0" name=""/>
        <dsp:cNvSpPr/>
      </dsp:nvSpPr>
      <dsp:spPr>
        <a:xfrm>
          <a:off x="3078998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017"/>
              </a:lnTo>
              <a:lnTo>
                <a:pt x="2178413" y="567017"/>
              </a:lnTo>
              <a:lnTo>
                <a:pt x="2178413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0AF645-DB45-4CC8-9E97-FBC8ECF32B5D}">
      <dsp:nvSpPr>
        <dsp:cNvPr id="0" name=""/>
        <dsp:cNvSpPr/>
      </dsp:nvSpPr>
      <dsp:spPr>
        <a:xfrm>
          <a:off x="3033278" y="784150"/>
          <a:ext cx="91440" cy="7560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6E89EB-24BE-4D1D-8441-A7A363D9D05C}">
      <dsp:nvSpPr>
        <dsp:cNvPr id="0" name=""/>
        <dsp:cNvSpPr/>
      </dsp:nvSpPr>
      <dsp:spPr>
        <a:xfrm>
          <a:off x="900584" y="784150"/>
          <a:ext cx="2178413" cy="756053"/>
        </a:xfrm>
        <a:custGeom>
          <a:avLst/>
          <a:gdLst/>
          <a:ahLst/>
          <a:cxnLst/>
          <a:rect l="0" t="0" r="0" b="0"/>
          <a:pathLst>
            <a:path>
              <a:moveTo>
                <a:pt x="2178413" y="0"/>
              </a:moveTo>
              <a:lnTo>
                <a:pt x="2178413" y="567017"/>
              </a:lnTo>
              <a:lnTo>
                <a:pt x="0" y="567017"/>
              </a:lnTo>
              <a:lnTo>
                <a:pt x="0" y="756053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4C710B-AAD3-4FDE-9DB7-116B9D1C0776}">
      <dsp:nvSpPr>
        <dsp:cNvPr id="0" name=""/>
        <dsp:cNvSpPr/>
      </dsp:nvSpPr>
      <dsp:spPr>
        <a:xfrm>
          <a:off x="2178827" y="137909"/>
          <a:ext cx="1800341" cy="646241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Arial"/>
            <a:buNone/>
          </a:pPr>
          <a:r>
            <a:rPr lang="de-DE" sz="1800" kern="1200" dirty="0">
              <a:solidFill>
                <a:schemeClr val="tx1"/>
              </a:solidFill>
            </a:rPr>
            <a:t>Transport </a:t>
          </a:r>
          <a:r>
            <a:rPr lang="de-DE" sz="1800" kern="1200" dirty="0" err="1">
              <a:solidFill>
                <a:schemeClr val="tx1"/>
              </a:solidFill>
            </a:rPr>
            <a:t>entir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osition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37909"/>
        <a:ext cx="1800341" cy="646241"/>
      </dsp:txXfrm>
    </dsp:sp>
    <dsp:sp modelId="{27A1F63E-023D-44DA-8371-BC00D7566CA4}">
      <dsp:nvSpPr>
        <dsp:cNvPr id="0" name=""/>
        <dsp:cNvSpPr/>
      </dsp:nvSpPr>
      <dsp:spPr>
        <a:xfrm>
          <a:off x="413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Move </a:t>
          </a:r>
          <a:r>
            <a:rPr lang="de-DE" sz="1800" kern="1200" dirty="0" err="1">
              <a:solidFill>
                <a:schemeClr val="tx1"/>
              </a:solidFill>
            </a:rPr>
            <a:t>herd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</a:t>
          </a:r>
        </a:p>
      </dsp:txBody>
      <dsp:txXfrm>
        <a:off x="413" y="1540204"/>
        <a:ext cx="1800341" cy="900170"/>
      </dsp:txXfrm>
    </dsp:sp>
    <dsp:sp modelId="{7F886F2F-B8AD-4EFE-8619-8AEE2B3C7225}">
      <dsp:nvSpPr>
        <dsp:cNvPr id="0" name=""/>
        <dsp:cNvSpPr/>
      </dsp:nvSpPr>
      <dsp:spPr>
        <a:xfrm>
          <a:off x="2178827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 err="1">
              <a:solidFill>
                <a:schemeClr val="tx1"/>
              </a:solidFill>
            </a:rPr>
            <a:t>Don‘t</a:t>
          </a:r>
          <a:r>
            <a:rPr lang="de-DE" sz="1800" kern="1200" dirty="0">
              <a:solidFill>
                <a:schemeClr val="tx1"/>
              </a:solidFill>
            </a:rPr>
            <a:t> lose </a:t>
          </a:r>
          <a:r>
            <a:rPr lang="de-DE" sz="1800" kern="1200" dirty="0" err="1">
              <a:solidFill>
                <a:schemeClr val="tx1"/>
              </a:solidFill>
            </a:rPr>
            <a:t>any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th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process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2178827" y="1540204"/>
        <a:ext cx="1800341" cy="900170"/>
      </dsp:txXfrm>
    </dsp:sp>
    <dsp:sp modelId="{2D412D9C-3583-4EFB-A80C-9B846AC10124}">
      <dsp:nvSpPr>
        <dsp:cNvPr id="0" name=""/>
        <dsp:cNvSpPr/>
      </dsp:nvSpPr>
      <dsp:spPr>
        <a:xfrm>
          <a:off x="4357240" y="1540204"/>
          <a:ext cx="1800341" cy="900170"/>
        </a:xfrm>
        <a:prstGeom prst="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SzPct val="100000"/>
            <a:buFont typeface="+mj-lt"/>
            <a:buNone/>
          </a:pPr>
          <a:r>
            <a:rPr lang="de-DE" sz="1800" kern="1200" dirty="0">
              <a:solidFill>
                <a:schemeClr val="tx1"/>
              </a:solidFill>
            </a:rPr>
            <a:t>Keep </a:t>
          </a:r>
          <a:r>
            <a:rPr lang="de-DE" sz="1800" kern="1200" dirty="0" err="1">
              <a:solidFill>
                <a:schemeClr val="tx1"/>
              </a:solidFill>
            </a:rPr>
            <a:t>agents</a:t>
          </a:r>
          <a:r>
            <a:rPr lang="de-DE" sz="1800" kern="1200" dirty="0">
              <a:solidFill>
                <a:schemeClr val="tx1"/>
              </a:solidFill>
            </a:rPr>
            <a:t> and </a:t>
          </a:r>
          <a:r>
            <a:rPr lang="de-DE" sz="1800" kern="1200" dirty="0" err="1">
              <a:solidFill>
                <a:schemeClr val="tx1"/>
              </a:solidFill>
            </a:rPr>
            <a:t>target</a:t>
          </a:r>
          <a:r>
            <a:rPr lang="de-DE" sz="1800" kern="1200" dirty="0">
              <a:solidFill>
                <a:schemeClr val="tx1"/>
              </a:solidFill>
            </a:rPr>
            <a:t> in </a:t>
          </a:r>
          <a:r>
            <a:rPr lang="de-DE" sz="1800" kern="1200" dirty="0" err="1">
              <a:solidFill>
                <a:schemeClr val="tx1"/>
              </a:solidFill>
            </a:rPr>
            <a:t>alignment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to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maintain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line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of</a:t>
          </a:r>
          <a:r>
            <a:rPr lang="de-DE" sz="1800" kern="1200" dirty="0">
              <a:solidFill>
                <a:schemeClr val="tx1"/>
              </a:solidFill>
            </a:rPr>
            <a:t> </a:t>
          </a:r>
          <a:r>
            <a:rPr lang="de-DE" sz="1800" kern="1200" dirty="0" err="1">
              <a:solidFill>
                <a:schemeClr val="tx1"/>
              </a:solidFill>
            </a:rPr>
            <a:t>sight</a:t>
          </a:r>
          <a:endParaRPr lang="de-DE" sz="1800" kern="1200" dirty="0">
            <a:solidFill>
              <a:schemeClr val="tx1"/>
            </a:solidFill>
          </a:endParaRPr>
        </a:p>
      </dsp:txBody>
      <dsp:txXfrm>
        <a:off x="4357240" y="1540204"/>
        <a:ext cx="1800341" cy="9001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CE915-6559-44BB-855F-9CAD86852803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2FCE0-2DEB-499F-9498-5F87D9D6AF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507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F2FCE0-2DEB-499F-9498-5F87D9D6AF9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6308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6847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9477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1051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041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75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5382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4111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63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581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0231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307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521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432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E5B0C-9779-4EA3-2997-5C15B656F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4F5C2D6-67ED-1C11-A8A9-FDFFDB393F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386EE5-3B73-B613-3E97-E57313F79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448399-3037-2899-8136-06912B21E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DE5D70-5395-5E1C-71F0-F33C647EC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61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178209-A427-4CC9-737A-505FF4C0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85EDD10-CF3C-D121-3B1B-B64E4772C9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49968-48A5-3C87-6EEF-1C7C56F2D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D8B0FF-0523-7B48-2417-DB581449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DC593A-93DF-4721-2D62-07DA5320C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132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666260B-3A69-5DBC-C634-F78D3CDA7C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84D127B-8B72-7B9C-4FFB-C757B2FBD3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7F92BD-DD10-22A6-EC8E-D95A66E74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DCA1B4-EBB0-BDFB-4285-940D9D185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5ACEEB-45E7-58CA-FBD4-9D56995F7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570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07045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977251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641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01E527-3634-4BA5-A1E4-620B019CC3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748269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862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231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742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94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CFDE8B-36AF-80BC-EE2E-16ABEAFEB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0A5153-9BC8-92BC-DD6F-90BBD26870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1B7A74-789B-A92F-37EA-09C1A720D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026930-3817-1CC2-5009-54A09AA6F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892714-E6C2-1E8F-51E7-1A5915CD2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014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876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6706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0263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5883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0796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7446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486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7947515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7217509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339E1B40-A4E1-44DD-A0AE-DAB851381F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199848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9423C-595F-B7DE-8BD0-F92B87FE4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51EDCA-9C1F-36C3-3ACA-3A4E2F53C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EF7775-98F4-057D-74CB-B3CBA47FF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F4A4C4-B0C2-B11E-4907-6622CA82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65CEC1-FCE5-5AD4-C5CD-E742B2072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642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898046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left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right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843778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9643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hart Title / Headline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bottom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36835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673085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608925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17119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71945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451293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34471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FEC01D-9E4A-A3B6-65C0-3825F8F6A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687633-4A66-4BC7-6120-722EC1B5E9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23D67D-0EBD-F767-1F39-B06F77C036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ECF1-A56A-4ED7-43D3-BEA60D921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341865-32D7-D5D9-F995-8E1C555F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631D415-62EE-AF6E-6E15-24BD69037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2314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748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8353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808537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7551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683506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964882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78639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62095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baseline="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1792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3663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D72B7-5058-5133-7CFE-5E343C00C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C94835-D373-8DA6-651A-5C9A47823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D3BBFA-AD95-0E13-6EF5-A4A64CBA0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BB9A80-373E-F727-3800-08BF4F3854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11283F-EBD5-E144-4C12-EFC44FA2CE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DB5DAD4-05BF-D04A-65AC-C07661068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99E5D2D-635B-3F4C-7B54-42735AC5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EC08986-68EA-14BF-94CA-1527B9137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8502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D62DBCE-A9B0-4246-A41B-735C969CF0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80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527060D-3343-49A1-9B3C-60374CE0CF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8636" y="342232"/>
            <a:ext cx="1818000" cy="33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9770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57200" y="1714500"/>
            <a:ext cx="5638799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6D36862-655E-4012-828B-77C9C50E5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0FBE14FE-8368-48A9-9469-038784957BD4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994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F614DE80-8C7B-4676-9D35-D659766837C7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9D7CC3-2CA9-46E2-81C1-FB4543CB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902917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343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218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47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663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255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531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223778-4C37-0D90-F505-9A28723F5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1E455B-39D6-9E29-6931-7EE939D63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ABB72C-ED0D-87BF-F669-EC3031E11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623494-E1CD-CF7A-9677-0BCBA9707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165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25958E-1139-CF0F-B099-004A9A562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37230A-1EA1-E628-B5BD-99DB4C3A9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D70B7B-6E95-EEFC-E96F-CE25147A2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904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437916-8E9E-857C-DC20-3350BDAA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40702A-330C-5C7E-1907-5494A3415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9B74CD-2984-2636-EC15-A291C18157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8AAECF-A7B9-8F4A-9BEC-6844B70F0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B17B6F-162B-382E-644A-2E1F505F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6FF94F-CB19-524B-6BC1-000B8A509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44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799C2-9EEF-21B9-FCC2-202FCC50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57289FA-F3AB-9A87-E101-052F2B75C1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5F9253-FB6A-4C28-B1DB-D2BB3B563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F5CCFC-E67F-8259-0501-1095190F8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48A9C-CAC5-F443-0926-AB076FECC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55176F-6D7D-5344-A978-1D930658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532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ags" Target="../tags/tag1.xml"/><Relationship Id="rId55" Type="http://schemas.openxmlformats.org/officeDocument/2006/relationships/image" Target="../media/image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C9B0AD-B397-B7F8-652F-057E07FAC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C97EAC-974A-7817-8FCD-BBE0D2372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E5C228-3454-2110-F24D-35EA5DC4C1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2C742-0D0B-441D-9413-6B64D1F25131}" type="datetimeFigureOut">
              <a:rPr lang="de-DE" smtClean="0"/>
              <a:t>03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3639F9-4C62-7DB6-192D-C9977E90A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4B804C-3D3C-C048-E59E-A53F497F9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114F85-B54B-493C-BC9A-DF412889E7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1569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28FFD4C-A54A-44BE-B5F8-0D7EBAA5F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3087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425" imgH="426" progId="TCLayout.ActiveDocument.1">
                  <p:embed/>
                </p:oleObj>
              </mc:Choice>
              <mc:Fallback>
                <p:oleObj name="think-cell Slide" r:id="rId54" imgW="425" imgH="4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28FFD4C-A54A-44BE-B5F8-0D7EBAA5FD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>
            <p:custDataLst>
              <p:tags r:id="rId51"/>
            </p:custDataLst>
          </p:nvPr>
        </p:nvSpPr>
        <p:spPr>
          <a:xfrm>
            <a:off x="6335184" y="6519673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ective Behavior – Optimal Shepherd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21.png"/><Relationship Id="rId4" Type="http://schemas.openxmlformats.org/officeDocument/2006/relationships/diagramData" Target="../diagrams/data1.xml"/><Relationship Id="rId9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1.xml"/><Relationship Id="rId6" Type="http://schemas.openxmlformats.org/officeDocument/2006/relationships/image" Target="../media/image22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video" Target="../media/media1.mp4"/><Relationship Id="rId7" Type="http://schemas.openxmlformats.org/officeDocument/2006/relationships/image" Target="../media/image7.svg"/><Relationship Id="rId2" Type="http://schemas.microsoft.com/office/2007/relationships/media" Target="../media/media1.mp4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4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9.svg"/><Relationship Id="rId10" Type="http://schemas.openxmlformats.org/officeDocument/2006/relationships/image" Target="../media/image16.png"/><Relationship Id="rId4" Type="http://schemas.openxmlformats.org/officeDocument/2006/relationships/image" Target="../media/image8.png"/><Relationship Id="rId9" Type="http://schemas.openxmlformats.org/officeDocument/2006/relationships/image" Target="../media/image25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6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66" name="Rectangle 1057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B2F26092-70FC-F90C-3506-A1D8911A6A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1067" name="Rectangle 1059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tx1"/>
              </a:gs>
              <a:gs pos="33000">
                <a:schemeClr val="tx1">
                  <a:alpha val="64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D5AE22C-798B-B165-2939-91B01C1ED0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980" y="1122363"/>
            <a:ext cx="4642659" cy="3204134"/>
          </a:xfrm>
        </p:spPr>
        <p:txBody>
          <a:bodyPr anchor="b">
            <a:normAutofit/>
          </a:bodyPr>
          <a:lstStyle/>
          <a:p>
            <a:pPr algn="l"/>
            <a:r>
              <a:rPr lang="de-DE" sz="4400" dirty="0">
                <a:solidFill>
                  <a:schemeClr val="bg1"/>
                </a:solidFill>
              </a:rPr>
              <a:t>Collective </a:t>
            </a:r>
            <a:r>
              <a:rPr lang="de-DE" sz="4400" dirty="0" err="1">
                <a:solidFill>
                  <a:schemeClr val="bg1"/>
                </a:solidFill>
              </a:rPr>
              <a:t>Behavior</a:t>
            </a:r>
            <a:br>
              <a:rPr lang="de-DE" sz="4400" dirty="0">
                <a:solidFill>
                  <a:schemeClr val="bg1"/>
                </a:solidFill>
              </a:rPr>
            </a:br>
            <a:br>
              <a:rPr lang="de-DE" sz="4400" dirty="0">
                <a:solidFill>
                  <a:schemeClr val="bg1"/>
                </a:solidFill>
              </a:rPr>
            </a:br>
            <a:r>
              <a:rPr lang="de-DE" sz="4400" dirty="0">
                <a:solidFill>
                  <a:schemeClr val="bg1"/>
                </a:solidFill>
              </a:rPr>
              <a:t>Optimal </a:t>
            </a:r>
            <a:r>
              <a:rPr lang="de-DE" sz="4400" dirty="0" err="1">
                <a:solidFill>
                  <a:schemeClr val="bg1"/>
                </a:solidFill>
              </a:rPr>
              <a:t>Shepherding</a:t>
            </a:r>
            <a:r>
              <a:rPr lang="de-DE" sz="4400" dirty="0">
                <a:solidFill>
                  <a:schemeClr val="bg1"/>
                </a:solidFill>
              </a:rPr>
              <a:t> </a:t>
            </a:r>
            <a:br>
              <a:rPr lang="de-DE" sz="4400" dirty="0">
                <a:solidFill>
                  <a:schemeClr val="bg1"/>
                </a:solidFill>
              </a:rPr>
            </a:br>
            <a:endParaRPr lang="de-DE" sz="4400" dirty="0">
              <a:solidFill>
                <a:schemeClr val="bg1"/>
              </a:solidFill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D291BB2-1F94-0500-9122-540BE66E8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980" y="4872922"/>
            <a:ext cx="4023359" cy="1208141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de-DE" sz="2000" dirty="0">
                <a:solidFill>
                  <a:schemeClr val="bg1"/>
                </a:solidFill>
              </a:rPr>
              <a:t>Franziska Weber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Franz Muszarsky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Kimberley Frings</a:t>
            </a:r>
          </a:p>
          <a:p>
            <a:pPr algn="l"/>
            <a:endParaRPr lang="de-DE" sz="2000" dirty="0">
              <a:solidFill>
                <a:schemeClr val="bg1"/>
              </a:solidFill>
            </a:endParaRPr>
          </a:p>
          <a:p>
            <a:pPr algn="l"/>
            <a:r>
              <a:rPr lang="de-DE" sz="2000" dirty="0" err="1">
                <a:solidFill>
                  <a:schemeClr val="bg1"/>
                </a:solidFill>
              </a:rPr>
              <a:t>Iztok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Lebar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Bajec</a:t>
            </a:r>
            <a:r>
              <a:rPr lang="de-DE" sz="2000" dirty="0">
                <a:solidFill>
                  <a:schemeClr val="bg1"/>
                </a:solidFill>
              </a:rPr>
              <a:t> | </a:t>
            </a:r>
            <a:r>
              <a:rPr lang="de-DE" sz="2000" dirty="0" err="1">
                <a:solidFill>
                  <a:schemeClr val="bg1"/>
                </a:solidFill>
              </a:rPr>
              <a:t>izredni</a:t>
            </a:r>
            <a:r>
              <a:rPr lang="de-DE" sz="2000" dirty="0">
                <a:solidFill>
                  <a:schemeClr val="bg1"/>
                </a:solidFill>
              </a:rPr>
              <a:t> </a:t>
            </a:r>
            <a:r>
              <a:rPr lang="de-DE" sz="2000" dirty="0" err="1">
                <a:solidFill>
                  <a:schemeClr val="bg1"/>
                </a:solidFill>
              </a:rPr>
              <a:t>professor</a:t>
            </a:r>
            <a:r>
              <a:rPr lang="de-DE" sz="2000" dirty="0">
                <a:solidFill>
                  <a:schemeClr val="bg1"/>
                </a:solidFill>
              </a:rPr>
              <a:t> | </a:t>
            </a:r>
            <a:r>
              <a:rPr lang="de-DE" sz="2000" dirty="0" err="1">
                <a:solidFill>
                  <a:schemeClr val="bg1"/>
                </a:solidFill>
              </a:rPr>
              <a:t>mento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068" name="Rectangle 106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69" name="Rectangle 106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0876EC-0C76-110D-C1CA-54E2E043E4D4}"/>
              </a:ext>
            </a:extLst>
          </p:cNvPr>
          <p:cNvSpPr/>
          <p:nvPr/>
        </p:nvSpPr>
        <p:spPr>
          <a:xfrm>
            <a:off x="370114" y="468086"/>
            <a:ext cx="1099457" cy="34656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8714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91693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hepherd </a:t>
            </a:r>
            <a:r>
              <a:rPr lang="de-DE" sz="1600" b="1" dirty="0" err="1">
                <a:solidFill>
                  <a:srgbClr val="046A38"/>
                </a:solidFill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56864" y="685274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–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hepherd</a:t>
            </a:r>
          </a:p>
        </p:txBody>
      </p:sp>
      <p:graphicFrame>
        <p:nvGraphicFramePr>
          <p:cNvPr id="31" name="Diagramm 30">
            <a:extLst>
              <a:ext uri="{FF2B5EF4-FFF2-40B4-BE49-F238E27FC236}">
                <a16:creationId xmlns:a16="http://schemas.microsoft.com/office/drawing/2014/main" id="{79E2F5BB-7DEE-DDE3-64E0-3EA8495E2D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2376448"/>
              </p:ext>
            </p:extLst>
          </p:nvPr>
        </p:nvGraphicFramePr>
        <p:xfrm>
          <a:off x="4880118" y="2023169"/>
          <a:ext cx="6157996" cy="29562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" name="Grafik 32">
            <a:extLst>
              <a:ext uri="{FF2B5EF4-FFF2-40B4-BE49-F238E27FC236}">
                <a16:creationId xmlns:a16="http://schemas.microsoft.com/office/drawing/2014/main" id="{43322946-35CD-0361-3190-CA07411175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80118" y="4841460"/>
            <a:ext cx="5601629" cy="552566"/>
          </a:xfrm>
          <a:prstGeom prst="rect">
            <a:avLst/>
          </a:prstGeom>
        </p:spPr>
      </p:pic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D79201D-EFDE-BCA4-6B55-F22FD3C8DA7C}"/>
              </a:ext>
            </a:extLst>
          </p:cNvPr>
          <p:cNvSpPr/>
          <p:nvPr/>
        </p:nvSpPr>
        <p:spPr bwMode="gray">
          <a:xfrm>
            <a:off x="1012371" y="2096516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39" name="Pfeil: nach rechts 38">
            <a:extLst>
              <a:ext uri="{FF2B5EF4-FFF2-40B4-BE49-F238E27FC236}">
                <a16:creationId xmlns:a16="http://schemas.microsoft.com/office/drawing/2014/main" id="{EEB9BFC7-5B27-9FD5-0734-20D86F11AF6E}"/>
              </a:ext>
            </a:extLst>
          </p:cNvPr>
          <p:cNvSpPr/>
          <p:nvPr/>
        </p:nvSpPr>
        <p:spPr bwMode="gray">
          <a:xfrm>
            <a:off x="1012371" y="3501302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Condition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1C6122EE-11D0-BD89-349D-9B7245D338E6}"/>
              </a:ext>
            </a:extLst>
          </p:cNvPr>
          <p:cNvSpPr/>
          <p:nvPr/>
        </p:nvSpPr>
        <p:spPr bwMode="gray">
          <a:xfrm>
            <a:off x="1012371" y="4906088"/>
            <a:ext cx="2100171" cy="678497"/>
          </a:xfrm>
          <a:prstGeom prst="rightArrow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de-DE" sz="1600" b="1" dirty="0" err="1">
                <a:solidFill>
                  <a:schemeClr val="bg1"/>
                </a:solidFill>
              </a:rPr>
              <a:t>Objectiv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Functio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F36ABF0-8C14-E8DD-E350-1EB2DA3F2DBC}"/>
              </a:ext>
            </a:extLst>
          </p:cNvPr>
          <p:cNvSpPr/>
          <p:nvPr/>
        </p:nvSpPr>
        <p:spPr bwMode="gray">
          <a:xfrm>
            <a:off x="5000328" y="3548742"/>
            <a:ext cx="1534886" cy="84546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403614F-4A78-24EB-B07B-C857ECA79B0D}"/>
              </a:ext>
            </a:extLst>
          </p:cNvPr>
          <p:cNvSpPr/>
          <p:nvPr/>
        </p:nvSpPr>
        <p:spPr bwMode="gray">
          <a:xfrm>
            <a:off x="6008914" y="4906087"/>
            <a:ext cx="1328057" cy="487939"/>
          </a:xfrm>
          <a:prstGeom prst="rect">
            <a:avLst/>
          </a:prstGeom>
          <a:solidFill>
            <a:srgbClr val="26890D">
              <a:alpha val="33000"/>
            </a:srgbClr>
          </a:solidFill>
          <a:ln w="19050" algn="ctr">
            <a:solidFill>
              <a:srgbClr val="26890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E6F99B7-A3D1-E830-EC06-6147F3A6275E}"/>
              </a:ext>
            </a:extLst>
          </p:cNvPr>
          <p:cNvSpPr/>
          <p:nvPr/>
        </p:nvSpPr>
        <p:spPr bwMode="gray">
          <a:xfrm>
            <a:off x="7191673" y="3548742"/>
            <a:ext cx="1534886" cy="84546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359745C-4FE4-BC79-1EFD-8FD065AFDAEC}"/>
              </a:ext>
            </a:extLst>
          </p:cNvPr>
          <p:cNvSpPr/>
          <p:nvPr/>
        </p:nvSpPr>
        <p:spPr bwMode="gray">
          <a:xfrm>
            <a:off x="7565572" y="4906087"/>
            <a:ext cx="1160988" cy="487939"/>
          </a:xfrm>
          <a:prstGeom prst="rect">
            <a:avLst/>
          </a:prstGeom>
          <a:solidFill>
            <a:srgbClr val="0D8390">
              <a:alpha val="33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39BC81F-3A2B-8F1E-1DA5-C43C9B448FDC}"/>
              </a:ext>
            </a:extLst>
          </p:cNvPr>
          <p:cNvSpPr/>
          <p:nvPr/>
        </p:nvSpPr>
        <p:spPr bwMode="gray">
          <a:xfrm>
            <a:off x="8904514" y="4906087"/>
            <a:ext cx="1596255" cy="487939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232437A-4C9C-BEFF-089A-CF797924E7E9}"/>
              </a:ext>
            </a:extLst>
          </p:cNvPr>
          <p:cNvSpPr/>
          <p:nvPr/>
        </p:nvSpPr>
        <p:spPr bwMode="gray">
          <a:xfrm>
            <a:off x="9166312" y="3548742"/>
            <a:ext cx="2043776" cy="973280"/>
          </a:xfrm>
          <a:prstGeom prst="rect">
            <a:avLst/>
          </a:prstGeom>
          <a:solidFill>
            <a:srgbClr val="E3E48D">
              <a:alpha val="33000"/>
            </a:srgbClr>
          </a:solidFill>
          <a:ln w="19050" algn="ctr">
            <a:solidFill>
              <a:srgbClr val="E3E48D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/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W</a:t>
                </a:r>
                <a:r>
                  <a:rPr lang="de-DE" b="0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mean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std</a:t>
                </a:r>
                <a:r>
                  <a:rPr lang="de-DE" b="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, W</a:t>
                </a:r>
                <a:r>
                  <a:rPr lang="de-DE" baseline="-25000" dirty="0">
                    <a:solidFill>
                      <a:srgbClr val="313131"/>
                    </a:solidFill>
                    <a:ea typeface="Cambria Math" panose="02040503050406030204" pitchFamily="18" charset="0"/>
                  </a:rPr>
                  <a:t>col</a:t>
                </a:r>
                <a14:m>
                  <m:oMath xmlns:m="http://schemas.openxmlformats.org/officeDocument/2006/math"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𝑟𝑒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dirty="0" smtClean="0">
                        <a:solidFill>
                          <a:srgbClr val="31313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𝑤𝑒𝑖𝑔h𝑡𝑠</m:t>
                    </m:r>
                  </m:oMath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8D864F50-BB06-AAFE-6D95-1BDE5D2C08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0328" y="5721534"/>
                <a:ext cx="2826671" cy="276999"/>
              </a:xfrm>
              <a:prstGeom prst="rect">
                <a:avLst/>
              </a:prstGeom>
              <a:blipFill>
                <a:blip r:embed="rId10"/>
                <a:stretch>
                  <a:fillRect l="-4957" t="-28889" r="-3017" b="-51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55128620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4" grpId="0" animBg="1"/>
      <p:bldP spid="56" grpId="0" animBg="1"/>
      <p:bldP spid="57" grpId="0" animBg="1"/>
      <p:bldP spid="5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a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br>
              <a:rPr lang="de-DE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3808036"/>
            <a:ext cx="2160000" cy="3560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147023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Findings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A3DBA363-6E56-5B6E-B950-B4FBA0627617}"/>
              </a:ext>
            </a:extLst>
          </p:cNvPr>
          <p:cNvGrpSpPr/>
          <p:nvPr/>
        </p:nvGrpSpPr>
        <p:grpSpPr>
          <a:xfrm>
            <a:off x="2727084" y="1215812"/>
            <a:ext cx="7783011" cy="4753638"/>
            <a:chOff x="1797884" y="1215232"/>
            <a:chExt cx="7783011" cy="475363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B28F2581-73C8-915D-7DE8-455BF5B4F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97884" y="1215232"/>
              <a:ext cx="7783011" cy="4753638"/>
            </a:xfrm>
            <a:prstGeom prst="rect">
              <a:avLst/>
            </a:prstGeom>
          </p:spPr>
        </p:pic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168EE7-BE64-F879-9496-3DECB34EDE50}"/>
                </a:ext>
              </a:extLst>
            </p:cNvPr>
            <p:cNvSpPr/>
            <p:nvPr/>
          </p:nvSpPr>
          <p:spPr bwMode="gray">
            <a:xfrm>
              <a:off x="8067040" y="3139440"/>
              <a:ext cx="1513855" cy="25033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de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Pentagon 29">
            <a:extLst>
              <a:ext uri="{FF2B5EF4-FFF2-40B4-BE49-F238E27FC236}">
                <a16:creationId xmlns:a16="http://schemas.microsoft.com/office/drawing/2014/main" id="{144EF408-4ACF-FE78-6D51-99E30A8CCFB5}"/>
              </a:ext>
            </a:extLst>
          </p:cNvPr>
          <p:cNvSpPr/>
          <p:nvPr/>
        </p:nvSpPr>
        <p:spPr bwMode="gray">
          <a:xfrm>
            <a:off x="546559" y="2484832"/>
            <a:ext cx="2537939" cy="459886"/>
          </a:xfrm>
          <a:prstGeom prst="homePlate">
            <a:avLst/>
          </a:prstGeom>
          <a:solidFill>
            <a:srgbClr val="046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oving</a:t>
            </a:r>
            <a:endParaRPr lang="de-DE" sz="1300" dirty="0"/>
          </a:p>
        </p:txBody>
      </p:sp>
      <p:sp>
        <p:nvSpPr>
          <p:cNvPr id="28" name="Pentagon 29">
            <a:extLst>
              <a:ext uri="{FF2B5EF4-FFF2-40B4-BE49-F238E27FC236}">
                <a16:creationId xmlns:a16="http://schemas.microsoft.com/office/drawing/2014/main" id="{8DA951FC-0CA6-737D-9C65-F8C3CACC50A0}"/>
              </a:ext>
            </a:extLst>
          </p:cNvPr>
          <p:cNvSpPr/>
          <p:nvPr/>
        </p:nvSpPr>
        <p:spPr bwMode="gray">
          <a:xfrm>
            <a:off x="546559" y="3873324"/>
            <a:ext cx="2537939" cy="459886"/>
          </a:xfrm>
          <a:prstGeom prst="homePlate">
            <a:avLst/>
          </a:prstGeom>
          <a:solidFill>
            <a:srgbClr val="046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Mustering</a:t>
            </a:r>
            <a:endParaRPr lang="de-DE" sz="1300" dirty="0"/>
          </a:p>
        </p:txBody>
      </p:sp>
      <p:sp>
        <p:nvSpPr>
          <p:cNvPr id="29" name="Pentagon 29">
            <a:extLst>
              <a:ext uri="{FF2B5EF4-FFF2-40B4-BE49-F238E27FC236}">
                <a16:creationId xmlns:a16="http://schemas.microsoft.com/office/drawing/2014/main" id="{21DE7C20-20F2-F11B-3FE7-0DA4F9F36928}"/>
              </a:ext>
            </a:extLst>
          </p:cNvPr>
          <p:cNvSpPr/>
          <p:nvPr/>
        </p:nvSpPr>
        <p:spPr bwMode="gray">
          <a:xfrm>
            <a:off x="546559" y="5033992"/>
            <a:ext cx="2537939" cy="459886"/>
          </a:xfrm>
          <a:prstGeom prst="homePlate">
            <a:avLst/>
          </a:prstGeom>
          <a:solidFill>
            <a:srgbClr val="046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de-DE" sz="1300" dirty="0" err="1"/>
              <a:t>Driving</a:t>
            </a:r>
            <a:endParaRPr lang="de-DE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76900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 </a:t>
            </a:r>
            <a:r>
              <a:rPr lang="de-DE" dirty="0" err="1"/>
              <a:t>Strategies</a:t>
            </a:r>
            <a:r>
              <a:rPr lang="de-DE" dirty="0"/>
              <a:t> </a:t>
            </a:r>
            <a:r>
              <a:rPr lang="de-DE" dirty="0" err="1"/>
              <a:t>emerg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pherd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Videoexample</a:t>
            </a:r>
            <a:r>
              <a:rPr lang="de-DE" dirty="0"/>
              <a:t>: </a:t>
            </a:r>
            <a:r>
              <a:rPr lang="de-DE" dirty="0" err="1"/>
              <a:t>Musterin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D827A-9D21-569D-37C4-E1A7DA3BCC60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38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129">
            <a:extLst>
              <a:ext uri="{FF2B5EF4-FFF2-40B4-BE49-F238E27FC236}">
                <a16:creationId xmlns:a16="http://schemas.microsoft.com/office/drawing/2014/main" id="{86BA8234-4CDB-C145-B8FE-B7E1B9EA8A2C}"/>
              </a:ext>
            </a:extLst>
          </p:cNvPr>
          <p:cNvGrpSpPr/>
          <p:nvPr/>
        </p:nvGrpSpPr>
        <p:grpSpPr>
          <a:xfrm>
            <a:off x="10270368" y="-1659348"/>
            <a:ext cx="1598523" cy="2005765"/>
            <a:chOff x="5190209" y="1602865"/>
            <a:chExt cx="1598523" cy="2005765"/>
          </a:xfrm>
        </p:grpSpPr>
        <p:sp>
          <p:nvSpPr>
            <p:cNvPr id="6" name="Teardrop 130">
              <a:extLst>
                <a:ext uri="{FF2B5EF4-FFF2-40B4-BE49-F238E27FC236}">
                  <a16:creationId xmlns:a16="http://schemas.microsoft.com/office/drawing/2014/main" id="{CF06CF74-1DD7-40FE-1045-90F37B344FF0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DFCAA066-3762-3805-A3B8-0E112269AA95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Oval 133">
              <a:extLst>
                <a:ext uri="{FF2B5EF4-FFF2-40B4-BE49-F238E27FC236}">
                  <a16:creationId xmlns:a16="http://schemas.microsoft.com/office/drawing/2014/main" id="{7DBA765D-7885-2A14-B182-C9036F59E07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7" name="Grafik 16" descr="Laptop mit einfarbiger Füllung">
            <a:extLst>
              <a:ext uri="{FF2B5EF4-FFF2-40B4-BE49-F238E27FC236}">
                <a16:creationId xmlns:a16="http://schemas.microsoft.com/office/drawing/2014/main" id="{19A519A0-ECA7-6B28-D647-66F5CB26EA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5844" y="-1243187"/>
            <a:ext cx="673429" cy="673429"/>
          </a:xfrm>
          <a:prstGeom prst="rect">
            <a:avLst/>
          </a:prstGeom>
        </p:spPr>
      </p:pic>
      <p:pic>
        <p:nvPicPr>
          <p:cNvPr id="10" name="output_movie (1)">
            <a:hlinkClick r:id="" action="ppaction://media"/>
            <a:extLst>
              <a:ext uri="{FF2B5EF4-FFF2-40B4-BE49-F238E27FC236}">
                <a16:creationId xmlns:a16="http://schemas.microsoft.com/office/drawing/2014/main" id="{84BB9B66-6F5E-C3C8-54D8-F422B40167ED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25120" y="1127760"/>
            <a:ext cx="10698480" cy="53492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44836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9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a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3808036"/>
            <a:ext cx="2160000" cy="35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46A38"/>
                </a:solidFill>
                <a:latin typeface="Calibri"/>
              </a:rPr>
              <a:t>T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98099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1836703" y="1534265"/>
            <a:ext cx="2337923" cy="1997710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4622988" y="2559537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3897232" y="3252254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chemeClr val="bg1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</a:t>
            </a:r>
            <a:r>
              <a:rPr lang="de-DE" dirty="0" err="1"/>
              <a:t>Extensions</a:t>
            </a: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1D1C584-48C8-9E60-AF82-1FC5FDE43095}"/>
              </a:ext>
            </a:extLst>
          </p:cNvPr>
          <p:cNvSpPr txBox="1">
            <a:spLocks/>
          </p:cNvSpPr>
          <p:nvPr/>
        </p:nvSpPr>
        <p:spPr bwMode="gray">
          <a:xfrm>
            <a:off x="10121069" y="-632032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134">
            <a:extLst>
              <a:ext uri="{FF2B5EF4-FFF2-40B4-BE49-F238E27FC236}">
                <a16:creationId xmlns:a16="http://schemas.microsoft.com/office/drawing/2014/main" id="{716D3267-EB0D-EF4E-667B-D3F0D0A6E3F6}"/>
              </a:ext>
            </a:extLst>
          </p:cNvPr>
          <p:cNvGrpSpPr/>
          <p:nvPr/>
        </p:nvGrpSpPr>
        <p:grpSpPr>
          <a:xfrm>
            <a:off x="10343752" y="-1599267"/>
            <a:ext cx="1598523" cy="2005765"/>
            <a:chOff x="6763077" y="1602865"/>
            <a:chExt cx="1598523" cy="2005765"/>
          </a:xfrm>
        </p:grpSpPr>
        <p:sp>
          <p:nvSpPr>
            <p:cNvPr id="11" name="Teardrop 135">
              <a:extLst>
                <a:ext uri="{FF2B5EF4-FFF2-40B4-BE49-F238E27FC236}">
                  <a16:creationId xmlns:a16="http://schemas.microsoft.com/office/drawing/2014/main" id="{01E1E537-E5B1-F9C9-F75A-6040394E28F6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42E966E-E0B6-BAFE-8053-7B7D840516D3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6D5B0AA2-343A-1C7E-C76E-962217F150AC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14" name="Grafik 13" descr="Ambition mit einfarbiger Füllung">
            <a:extLst>
              <a:ext uri="{FF2B5EF4-FFF2-40B4-BE49-F238E27FC236}">
                <a16:creationId xmlns:a16="http://schemas.microsoft.com/office/drawing/2014/main" id="{8A869A74-2184-9A62-719A-CFEAA19163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08634" y="-1285227"/>
            <a:ext cx="792000" cy="792000"/>
          </a:xfrm>
          <a:prstGeom prst="rect">
            <a:avLst/>
          </a:prstGeom>
        </p:spPr>
      </p:pic>
      <p:pic>
        <p:nvPicPr>
          <p:cNvPr id="29" name="Grafik 28" descr="Schaf mit einfarbiger Füllung">
            <a:extLst>
              <a:ext uri="{FF2B5EF4-FFF2-40B4-BE49-F238E27FC236}">
                <a16:creationId xmlns:a16="http://schemas.microsoft.com/office/drawing/2014/main" id="{8E7CE5BC-87FA-316F-357A-8681B7DFBB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48464" y="1845528"/>
            <a:ext cx="914400" cy="914400"/>
          </a:xfrm>
          <a:prstGeom prst="rect">
            <a:avLst/>
          </a:prstGeom>
        </p:spPr>
      </p:pic>
      <p:pic>
        <p:nvPicPr>
          <p:cNvPr id="31" name="Grafik 30" descr="Schaf mit einfarbiger Füllung">
            <a:extLst>
              <a:ext uri="{FF2B5EF4-FFF2-40B4-BE49-F238E27FC236}">
                <a16:creationId xmlns:a16="http://schemas.microsoft.com/office/drawing/2014/main" id="{5C2E3F93-960A-71DC-6EE3-82105DDA17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15874" y="2229826"/>
            <a:ext cx="914400" cy="914400"/>
          </a:xfrm>
          <a:prstGeom prst="rect">
            <a:avLst/>
          </a:prstGeom>
        </p:spPr>
      </p:pic>
      <p:pic>
        <p:nvPicPr>
          <p:cNvPr id="33" name="Grafik 32" descr="Schaf mit einfarbiger Füllung">
            <a:extLst>
              <a:ext uri="{FF2B5EF4-FFF2-40B4-BE49-F238E27FC236}">
                <a16:creationId xmlns:a16="http://schemas.microsoft.com/office/drawing/2014/main" id="{7577E88E-E329-5F3B-6AB5-7283D2D8BC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4427" y="2250594"/>
            <a:ext cx="914400" cy="914400"/>
          </a:xfrm>
          <a:prstGeom prst="rect">
            <a:avLst/>
          </a:prstGeom>
        </p:spPr>
      </p:pic>
      <p:pic>
        <p:nvPicPr>
          <p:cNvPr id="38" name="Grafik 37" descr="Zaun mit einfarbiger Füllung">
            <a:extLst>
              <a:ext uri="{FF2B5EF4-FFF2-40B4-BE49-F238E27FC236}">
                <a16:creationId xmlns:a16="http://schemas.microsoft.com/office/drawing/2014/main" id="{2E48D220-2761-5CE2-28C1-14B3168D7B1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91264" y="2455232"/>
            <a:ext cx="914400" cy="914400"/>
          </a:xfrm>
          <a:prstGeom prst="rect">
            <a:avLst/>
          </a:prstGeom>
        </p:spPr>
      </p:pic>
      <p:pic>
        <p:nvPicPr>
          <p:cNvPr id="40" name="Grafik 39" descr="Zaun mit einfarbiger Füllung">
            <a:extLst>
              <a:ext uri="{FF2B5EF4-FFF2-40B4-BE49-F238E27FC236}">
                <a16:creationId xmlns:a16="http://schemas.microsoft.com/office/drawing/2014/main" id="{21A284CD-BF51-73F1-31A5-F3E0EAD2C2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56460" y="2455232"/>
            <a:ext cx="914400" cy="914400"/>
          </a:xfrm>
          <a:prstGeom prst="rect">
            <a:avLst/>
          </a:prstGeom>
        </p:spPr>
      </p:pic>
      <p:sp>
        <p:nvSpPr>
          <p:cNvPr id="41" name="Rectangle 78">
            <a:extLst>
              <a:ext uri="{FF2B5EF4-FFF2-40B4-BE49-F238E27FC236}">
                <a16:creationId xmlns:a16="http://schemas.microsoft.com/office/drawing/2014/main" id="{FE7C0328-569D-4FF6-EFE2-F5C1D8CFBD55}"/>
              </a:ext>
            </a:extLst>
          </p:cNvPr>
          <p:cNvSpPr/>
          <p:nvPr/>
        </p:nvSpPr>
        <p:spPr>
          <a:xfrm>
            <a:off x="2672450" y="1183055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Fence </a:t>
            </a:r>
          </a:p>
        </p:txBody>
      </p:sp>
      <p:sp>
        <p:nvSpPr>
          <p:cNvPr id="42" name="Hexagon 74">
            <a:extLst>
              <a:ext uri="{FF2B5EF4-FFF2-40B4-BE49-F238E27FC236}">
                <a16:creationId xmlns:a16="http://schemas.microsoft.com/office/drawing/2014/main" id="{9DB6B5AD-BEC3-DD7E-605C-7F82370CA033}"/>
              </a:ext>
            </a:extLst>
          </p:cNvPr>
          <p:cNvSpPr/>
          <p:nvPr/>
        </p:nvSpPr>
        <p:spPr bwMode="gray">
          <a:xfrm>
            <a:off x="6697531" y="1534265"/>
            <a:ext cx="2337923" cy="1997710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3" name="Grafik 42" descr="Hund mit einfarbiger Füllung">
            <a:extLst>
              <a:ext uri="{FF2B5EF4-FFF2-40B4-BE49-F238E27FC236}">
                <a16:creationId xmlns:a16="http://schemas.microsoft.com/office/drawing/2014/main" id="{543B92FA-8FF3-07CA-B86A-2D61CF706D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03515" y="1869491"/>
            <a:ext cx="914400" cy="914400"/>
          </a:xfrm>
          <a:prstGeom prst="rect">
            <a:avLst/>
          </a:prstGeom>
        </p:spPr>
      </p:pic>
      <p:pic>
        <p:nvPicPr>
          <p:cNvPr id="44" name="Grafik 43" descr="Hund mit einfarbiger Füllung">
            <a:extLst>
              <a:ext uri="{FF2B5EF4-FFF2-40B4-BE49-F238E27FC236}">
                <a16:creationId xmlns:a16="http://schemas.microsoft.com/office/drawing/2014/main" id="{7BEEFDFC-D7C0-B8A6-585A-DC1E2DFF522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47990" y="2261841"/>
            <a:ext cx="914400" cy="914400"/>
          </a:xfrm>
          <a:prstGeom prst="rect">
            <a:avLst/>
          </a:prstGeom>
        </p:spPr>
      </p:pic>
      <p:sp>
        <p:nvSpPr>
          <p:cNvPr id="45" name="Rectangle 78">
            <a:extLst>
              <a:ext uri="{FF2B5EF4-FFF2-40B4-BE49-F238E27FC236}">
                <a16:creationId xmlns:a16="http://schemas.microsoft.com/office/drawing/2014/main" id="{6ABA3660-A532-E6B9-5B79-0FB628765CFF}"/>
              </a:ext>
            </a:extLst>
          </p:cNvPr>
          <p:cNvSpPr/>
          <p:nvPr/>
        </p:nvSpPr>
        <p:spPr>
          <a:xfrm>
            <a:off x="7051390" y="1183055"/>
            <a:ext cx="2821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46A38"/>
                </a:solidFill>
              </a:rPr>
              <a:t>Second </a:t>
            </a:r>
            <a:r>
              <a:rPr lang="de-DE" sz="1600" b="1" dirty="0" err="1">
                <a:solidFill>
                  <a:srgbClr val="046A38"/>
                </a:solidFill>
              </a:rPr>
              <a:t>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47" name="Rectangle 79">
            <a:extLst>
              <a:ext uri="{FF2B5EF4-FFF2-40B4-BE49-F238E27FC236}">
                <a16:creationId xmlns:a16="http://schemas.microsoft.com/office/drawing/2014/main" id="{FBECF220-E6F1-2EAB-99A8-9FE44FB50BCA}"/>
              </a:ext>
            </a:extLst>
          </p:cNvPr>
          <p:cNvSpPr/>
          <p:nvPr/>
        </p:nvSpPr>
        <p:spPr>
          <a:xfrm>
            <a:off x="1529761" y="4049033"/>
            <a:ext cx="341815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>
                <a:solidFill>
                  <a:prstClr val="black"/>
                </a:solidFill>
              </a:rPr>
              <a:t>Min/</a:t>
            </a:r>
            <a:r>
              <a:rPr lang="de-DE" sz="1600" dirty="0" err="1">
                <a:solidFill>
                  <a:prstClr val="black"/>
                </a:solidFill>
              </a:rPr>
              <a:t>max</a:t>
            </a:r>
            <a:r>
              <a:rPr lang="de-DE" sz="1600" dirty="0">
                <a:solidFill>
                  <a:prstClr val="black"/>
                </a:solidFill>
              </a:rPr>
              <a:t>  x and y </a:t>
            </a:r>
            <a:r>
              <a:rPr lang="de-DE" sz="1600" dirty="0" err="1">
                <a:solidFill>
                  <a:prstClr val="black"/>
                </a:solidFill>
              </a:rPr>
              <a:t>coordinates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1600" b="1" dirty="0">
                <a:solidFill>
                  <a:prstClr val="black"/>
                </a:solidFill>
              </a:rPr>
              <a:t>Potential </a:t>
            </a:r>
            <a:r>
              <a:rPr lang="de-DE" sz="1600" b="1" dirty="0" err="1">
                <a:solidFill>
                  <a:prstClr val="black"/>
                </a:solidFill>
              </a:rPr>
              <a:t>future</a:t>
            </a:r>
            <a:r>
              <a:rPr lang="de-DE" sz="1600" b="1" dirty="0">
                <a:solidFill>
                  <a:prstClr val="black"/>
                </a:solidFill>
              </a:rPr>
              <a:t> Extens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dirty="0" err="1">
                <a:solidFill>
                  <a:prstClr val="black"/>
                </a:solidFill>
              </a:rPr>
              <a:t>Actual</a:t>
            </a:r>
            <a:r>
              <a:rPr lang="de-DE" sz="1600" dirty="0">
                <a:solidFill>
                  <a:prstClr val="black"/>
                </a:solidFill>
              </a:rPr>
              <a:t> r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pulsion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ce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rom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ence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Rectangle 79">
            <a:extLst>
              <a:ext uri="{FF2B5EF4-FFF2-40B4-BE49-F238E27FC236}">
                <a16:creationId xmlns:a16="http://schemas.microsoft.com/office/drawing/2014/main" id="{14849DD2-A8AE-D96B-8038-D4FAD3AB65DB}"/>
              </a:ext>
            </a:extLst>
          </p:cNvPr>
          <p:cNvSpPr/>
          <p:nvPr/>
        </p:nvSpPr>
        <p:spPr>
          <a:xfrm>
            <a:off x="6284812" y="4049033"/>
            <a:ext cx="456606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de-DE" sz="1600" b="1" dirty="0" err="1">
                <a:solidFill>
                  <a:prstClr val="black"/>
                </a:solidFill>
              </a:rPr>
              <a:t>Required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modifications</a:t>
            </a:r>
            <a:r>
              <a:rPr lang="de-DE" sz="1600" b="1" dirty="0">
                <a:solidFill>
                  <a:prstClr val="black"/>
                </a:solidFill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pulsion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etween</a:t>
            </a:r>
            <a:r>
              <a:rPr kumimoji="0" lang="de-DE" sz="16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hepherds</a:t>
            </a:r>
            <a:endParaRPr kumimoji="0" lang="de-DE" sz="160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600" noProof="0" dirty="0">
                <a:solidFill>
                  <a:prstClr val="black"/>
                </a:solidFill>
              </a:rPr>
              <a:t>Repulsion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gent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a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sum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of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each</a:t>
            </a:r>
            <a:r>
              <a:rPr lang="de-DE" sz="1600" noProof="0" dirty="0">
                <a:solidFill>
                  <a:prstClr val="black"/>
                </a:solidFill>
              </a:rPr>
              <a:t> individual </a:t>
            </a:r>
            <a:r>
              <a:rPr lang="de-DE" sz="1600" noProof="0" dirty="0" err="1">
                <a:solidFill>
                  <a:prstClr val="black"/>
                </a:solidFill>
              </a:rPr>
              <a:t>shepheards</a:t>
            </a:r>
            <a:r>
              <a:rPr lang="de-DE" sz="1600" noProof="0" dirty="0">
                <a:solidFill>
                  <a:prstClr val="black"/>
                </a:solidFill>
              </a:rPr>
              <a:t> </a:t>
            </a:r>
            <a:r>
              <a:rPr lang="de-DE" sz="1600" noProof="0" dirty="0" err="1">
                <a:solidFill>
                  <a:prstClr val="black"/>
                </a:solidFill>
              </a:rPr>
              <a:t>repulsion</a:t>
            </a:r>
            <a:endParaRPr lang="de-DE" sz="1600" noProof="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600" dirty="0">
              <a:solidFill>
                <a:prstClr val="black"/>
              </a:solidFill>
            </a:endParaRPr>
          </a:p>
          <a:p>
            <a:pPr lvl="0">
              <a:defRPr/>
            </a:pPr>
            <a:r>
              <a:rPr lang="de-DE" sz="1600" b="1" dirty="0">
                <a:solidFill>
                  <a:prstClr val="black"/>
                </a:solidFill>
              </a:rPr>
              <a:t>Potential </a:t>
            </a:r>
            <a:r>
              <a:rPr lang="de-DE" sz="1600" b="1" dirty="0" err="1">
                <a:solidFill>
                  <a:prstClr val="black"/>
                </a:solidFill>
              </a:rPr>
              <a:t>future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  <a:r>
              <a:rPr lang="de-DE" sz="1600" b="1" dirty="0" err="1">
                <a:solidFill>
                  <a:prstClr val="black"/>
                </a:solidFill>
              </a:rPr>
              <a:t>extension</a:t>
            </a:r>
            <a:endParaRPr lang="de-DE" sz="1600" b="1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solidFill>
                  <a:prstClr val="black"/>
                </a:solidFill>
              </a:rPr>
              <a:t>Enable</a:t>
            </a:r>
            <a:r>
              <a:rPr lang="de-DE" sz="1600" dirty="0">
                <a:solidFill>
                  <a:prstClr val="black"/>
                </a:solidFill>
              </a:rPr>
              <a:t> multiple </a:t>
            </a:r>
            <a:r>
              <a:rPr lang="de-DE" sz="1600" dirty="0" err="1">
                <a:solidFill>
                  <a:prstClr val="black"/>
                </a:solidFill>
              </a:rPr>
              <a:t>shephrds</a:t>
            </a:r>
            <a:endParaRPr lang="de-DE" sz="1600" noProof="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8847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5" grpId="0"/>
      <p:bldP spid="47" grpId="0"/>
      <p:bldP spid="4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3808036"/>
            <a:ext cx="2160000" cy="356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9319442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out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251448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/>
              <a:t>With</a:t>
            </a:r>
            <a:r>
              <a:rPr lang="de-DE" sz="1600" b="1" dirty="0"/>
              <a:t> Fence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A6AA1A0-AAFE-2DFF-17CA-F1670ACFB2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507" y="2162467"/>
            <a:ext cx="5617340" cy="376547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7992E46B-B1F7-B48E-43CA-CFE370DD17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9545" y="2161437"/>
            <a:ext cx="5528267" cy="3712367"/>
          </a:xfrm>
          <a:prstGeom prst="rect">
            <a:avLst/>
          </a:prstGeom>
        </p:spPr>
      </p:pic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8969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 err="1"/>
              <a:t>Results</a:t>
            </a:r>
            <a:br>
              <a:rPr lang="de-DE" dirty="0"/>
            </a:br>
            <a:endParaRPr lang="de-DE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9DC2024-34BC-3B72-BFD7-14490A8C386D}"/>
              </a:ext>
            </a:extLst>
          </p:cNvPr>
          <p:cNvSpPr txBox="1">
            <a:spLocks/>
          </p:cNvSpPr>
          <p:nvPr/>
        </p:nvSpPr>
        <p:spPr bwMode="gray">
          <a:xfrm>
            <a:off x="10032000" y="-669284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39">
            <a:extLst>
              <a:ext uri="{FF2B5EF4-FFF2-40B4-BE49-F238E27FC236}">
                <a16:creationId xmlns:a16="http://schemas.microsoft.com/office/drawing/2014/main" id="{55E8D3E9-385B-8FB9-78E1-46ED25D5C8BA}"/>
              </a:ext>
            </a:extLst>
          </p:cNvPr>
          <p:cNvGrpSpPr/>
          <p:nvPr/>
        </p:nvGrpSpPr>
        <p:grpSpPr>
          <a:xfrm>
            <a:off x="10310316" y="-1629699"/>
            <a:ext cx="1598523" cy="2005765"/>
            <a:chOff x="8355090" y="1602865"/>
            <a:chExt cx="1598523" cy="2005765"/>
          </a:xfrm>
        </p:grpSpPr>
        <p:sp>
          <p:nvSpPr>
            <p:cNvPr id="12" name="Teardrop 140">
              <a:extLst>
                <a:ext uri="{FF2B5EF4-FFF2-40B4-BE49-F238E27FC236}">
                  <a16:creationId xmlns:a16="http://schemas.microsoft.com/office/drawing/2014/main" id="{7E38ABC3-F9C8-7E30-0A06-59BD408FB9E1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988E06E-4A18-F246-E8E5-DC9B1F9CEA80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" name="Group 925">
              <a:extLst>
                <a:ext uri="{FF2B5EF4-FFF2-40B4-BE49-F238E27FC236}">
                  <a16:creationId xmlns:a16="http://schemas.microsoft.com/office/drawing/2014/main" id="{4B88E82C-2687-9544-24CB-07226153E4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6" name="Freeform 926">
                <a:extLst>
                  <a:ext uri="{FF2B5EF4-FFF2-40B4-BE49-F238E27FC236}">
                    <a16:creationId xmlns:a16="http://schemas.microsoft.com/office/drawing/2014/main" id="{D4105ECE-72AC-B7D2-62F7-3B49AF697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927">
                <a:extLst>
                  <a:ext uri="{FF2B5EF4-FFF2-40B4-BE49-F238E27FC236}">
                    <a16:creationId xmlns:a16="http://schemas.microsoft.com/office/drawing/2014/main" id="{D997D6B2-E156-2B80-EB34-962498EB94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Oval 143">
              <a:extLst>
                <a:ext uri="{FF2B5EF4-FFF2-40B4-BE49-F238E27FC236}">
                  <a16:creationId xmlns:a16="http://schemas.microsoft.com/office/drawing/2014/main" id="{D95C0BA3-6A13-A41F-3CF6-10D42B9F9C2E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872">
            <a:extLst>
              <a:ext uri="{FF2B5EF4-FFF2-40B4-BE49-F238E27FC236}">
                <a16:creationId xmlns:a16="http://schemas.microsoft.com/office/drawing/2014/main" id="{1F9F17E5-25AF-F685-6668-C446F441ABB6}"/>
              </a:ext>
            </a:extLst>
          </p:cNvPr>
          <p:cNvSpPr>
            <a:spLocks noEditPoints="1"/>
          </p:cNvSpPr>
          <p:nvPr/>
        </p:nvSpPr>
        <p:spPr bwMode="auto">
          <a:xfrm>
            <a:off x="10802402" y="-1247062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918342BD-5E2C-01CA-60B7-8B4D9DDC0883}"/>
              </a:ext>
            </a:extLst>
          </p:cNvPr>
          <p:cNvSpPr/>
          <p:nvPr/>
        </p:nvSpPr>
        <p:spPr>
          <a:xfrm>
            <a:off x="2452532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noProof="0" dirty="0" err="1"/>
              <a:t>One</a:t>
            </a:r>
            <a:r>
              <a:rPr lang="de-DE" sz="1600" b="1" noProof="0" dirty="0"/>
              <a:t> Shephe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78">
            <a:extLst>
              <a:ext uri="{FF2B5EF4-FFF2-40B4-BE49-F238E27FC236}">
                <a16:creationId xmlns:a16="http://schemas.microsoft.com/office/drawing/2014/main" id="{102BE184-A4DB-F3CC-D338-155B20FE7FD2}"/>
              </a:ext>
            </a:extLst>
          </p:cNvPr>
          <p:cNvSpPr/>
          <p:nvPr/>
        </p:nvSpPr>
        <p:spPr>
          <a:xfrm>
            <a:off x="8019954" y="1685013"/>
            <a:ext cx="21968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Shepherds 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913B138-1EAC-16B6-6484-0BD3777A6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lot</a:t>
            </a:r>
            <a:endParaRPr lang="de-DE" dirty="0"/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285C8617-B593-B0AF-FB74-C1DCE977DD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0363" y="2426224"/>
            <a:ext cx="4362027" cy="3146379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978B9A25-9188-7445-09AD-A17420A4F1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73201" y="2402005"/>
            <a:ext cx="1388927" cy="1490556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8B1B91C5-16AF-6CB4-6FB5-17C8498BB2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335" y="2764020"/>
            <a:ext cx="3934374" cy="2896004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7DC2957D-FC66-AE87-A96E-337BE1150B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30577" y="2380689"/>
            <a:ext cx="1523034" cy="16257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282061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DD643831-9107-387A-0410-25C7844641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" r="10194" b="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8CDBD4F-867F-D835-9080-322F7C92E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507" y="-1006998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Thank you for your attention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961FE0-164A-2527-0673-42973BA70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8253" y="6451192"/>
            <a:ext cx="9144000" cy="528343"/>
          </a:xfrm>
        </p:spPr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ranziska Weber, Franz Muszarsky, Kimberley Frings</a:t>
            </a:r>
          </a:p>
        </p:txBody>
      </p:sp>
    </p:spTree>
    <p:extLst>
      <p:ext uri="{BB962C8B-B14F-4D97-AF65-F5344CB8AC3E}">
        <p14:creationId xmlns:p14="http://schemas.microsoft.com/office/powerpoint/2010/main" val="3220621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äugetier, Schaf, draußen, Himmel enthält.&#10;&#10;Automatisch generierte Beschreibung">
            <a:extLst>
              <a:ext uri="{FF2B5EF4-FFF2-40B4-BE49-F238E27FC236}">
                <a16:creationId xmlns:a16="http://schemas.microsoft.com/office/drawing/2014/main" id="{EA4DC629-1293-B17B-696A-081BDEA564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25" t="9091" r="24968" b="1"/>
          <a:stretch/>
        </p:blipFill>
        <p:spPr>
          <a:xfrm>
            <a:off x="3156857" y="10"/>
            <a:ext cx="9035143" cy="68579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CBB8FB6-E719-E096-2886-43174433BCC7}"/>
              </a:ext>
            </a:extLst>
          </p:cNvPr>
          <p:cNvSpPr/>
          <p:nvPr/>
        </p:nvSpPr>
        <p:spPr>
          <a:xfrm>
            <a:off x="-10886" y="3"/>
            <a:ext cx="10414726" cy="6857989"/>
          </a:xfrm>
          <a:prstGeom prst="rect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100000">
                <a:srgbClr val="FFFFFF">
                  <a:alpha val="0"/>
                </a:srgbClr>
              </a:gs>
              <a:gs pos="78000">
                <a:schemeClr val="bg1">
                  <a:alpha val="1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1AFF8405-AB67-6CDD-70D8-1B34064B7023}"/>
              </a:ext>
            </a:extLst>
          </p:cNvPr>
          <p:cNvSpPr txBox="1">
            <a:spLocks/>
          </p:cNvSpPr>
          <p:nvPr/>
        </p:nvSpPr>
        <p:spPr>
          <a:xfrm>
            <a:off x="477980" y="1635759"/>
            <a:ext cx="4642659" cy="197842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Optimal </a:t>
            </a:r>
            <a:r>
              <a:rPr lang="de-DE" dirty="0" err="1"/>
              <a:t>Shepherding</a:t>
            </a:r>
            <a:r>
              <a:rPr lang="de-DE" dirty="0"/>
              <a:t> </a:t>
            </a:r>
            <a:br>
              <a:rPr lang="de-DE" dirty="0"/>
            </a:b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7178983B-BC49-3245-F391-D15DA1BE485D}"/>
              </a:ext>
            </a:extLst>
          </p:cNvPr>
          <p:cNvSpPr txBox="1">
            <a:spLocks/>
          </p:cNvSpPr>
          <p:nvPr/>
        </p:nvSpPr>
        <p:spPr>
          <a:xfrm>
            <a:off x="477980" y="3386103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Franziska Weber</a:t>
            </a:r>
            <a:br>
              <a:rPr lang="de-DE" sz="2000" dirty="0"/>
            </a:br>
            <a:r>
              <a:rPr lang="de-DE" sz="2000" dirty="0"/>
              <a:t>Franz Muszarsky</a:t>
            </a:r>
            <a:br>
              <a:rPr lang="de-DE" sz="2000" dirty="0"/>
            </a:br>
            <a:r>
              <a:rPr lang="de-DE" sz="2000" dirty="0"/>
              <a:t>Kimberley Fring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2BCAE0-6508-CBF3-A393-95F642DD4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69" y="122090"/>
            <a:ext cx="1609950" cy="1000265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93129565-80FD-E2AD-FB90-242AB301947B}"/>
              </a:ext>
            </a:extLst>
          </p:cNvPr>
          <p:cNvSpPr txBox="1">
            <a:spLocks/>
          </p:cNvSpPr>
          <p:nvPr/>
        </p:nvSpPr>
        <p:spPr>
          <a:xfrm>
            <a:off x="477980" y="5771938"/>
            <a:ext cx="4023359" cy="12081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dirty="0"/>
              <a:t>Collective </a:t>
            </a:r>
            <a:r>
              <a:rPr lang="de-DE" sz="1600" dirty="0" err="1"/>
              <a:t>Behaviour</a:t>
            </a:r>
            <a:endParaRPr lang="de-DE" sz="1600" dirty="0"/>
          </a:p>
          <a:p>
            <a:pPr marL="0" indent="0">
              <a:buNone/>
            </a:pPr>
            <a:r>
              <a:rPr lang="de-DE" sz="1600" dirty="0" err="1"/>
              <a:t>Iztok</a:t>
            </a:r>
            <a:r>
              <a:rPr lang="de-DE" sz="1600" dirty="0"/>
              <a:t> </a:t>
            </a:r>
            <a:r>
              <a:rPr lang="de-DE" sz="1600" dirty="0" err="1"/>
              <a:t>Lebar</a:t>
            </a:r>
            <a:r>
              <a:rPr lang="de-DE" sz="1600" dirty="0"/>
              <a:t> </a:t>
            </a:r>
            <a:r>
              <a:rPr lang="de-DE" sz="1600" dirty="0" err="1"/>
              <a:t>Bajec</a:t>
            </a:r>
            <a:r>
              <a:rPr lang="de-DE" sz="1600" dirty="0"/>
              <a:t> | </a:t>
            </a:r>
            <a:r>
              <a:rPr lang="de-DE" sz="1600" dirty="0" err="1"/>
              <a:t>izredni</a:t>
            </a:r>
            <a:r>
              <a:rPr lang="de-DE" sz="1600" dirty="0"/>
              <a:t> </a:t>
            </a:r>
            <a:r>
              <a:rPr lang="de-DE" sz="1600" dirty="0" err="1"/>
              <a:t>professor</a:t>
            </a:r>
            <a:r>
              <a:rPr lang="de-DE" sz="1600" dirty="0"/>
              <a:t> | </a:t>
            </a:r>
            <a:r>
              <a:rPr lang="de-DE" sz="1600" dirty="0" err="1"/>
              <a:t>mentor</a:t>
            </a: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3835831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Shepherding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4110074"/>
            <a:ext cx="2160000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3763769"/>
            <a:ext cx="2160000" cy="4003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53565A"/>
                </a:solidFill>
                <a:latin typeface="Calibri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86BC25"/>
                </a:solidFill>
                <a:latin typeface="Calibri"/>
              </a:rPr>
              <a:t>Extens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p14="http://schemas.microsoft.com/office/powerpoint/2010/main" xmlns:a16="http://schemas.microsoft.com/office/drawing/2014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p14="http://schemas.microsoft.com/office/powerpoint/2010/main" xmlns:a16="http://schemas.microsoft.com/office/drawing/2014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  <p:pic>
        <p:nvPicPr>
          <p:cNvPr id="40" name="Grafik 39" descr="Schaf mit einfarbiger Füllung">
            <a:extLst>
              <a:ext uri="{FF2B5EF4-FFF2-40B4-BE49-F238E27FC236}">
                <a16:creationId xmlns:a16="http://schemas.microsoft.com/office/drawing/2014/main" id="{8637FC9F-4280-7CD0-0049-DA65AF8B8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6533" y="2070495"/>
            <a:ext cx="828000" cy="82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7953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54176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884" y="383856"/>
            <a:ext cx="11180232" cy="698501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5680" y="210064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94728" y="3149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7184" y="226566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53680" y="466342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728" y="383542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74243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93199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Ziel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8880" y="3977600"/>
            <a:ext cx="914400" cy="914400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F917271-D71B-941C-7BC3-5EE940A65C70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119">
            <a:extLst>
              <a:ext uri="{FF2B5EF4-FFF2-40B4-BE49-F238E27FC236}">
                <a16:creationId xmlns:a16="http://schemas.microsoft.com/office/drawing/2014/main" id="{A2680AA9-E544-81B9-6F4D-B2A63AFE82D0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35" name="Teardrop 121">
              <a:extLst>
                <a:ext uri="{FF2B5EF4-FFF2-40B4-BE49-F238E27FC236}">
                  <a16:creationId xmlns:a16="http://schemas.microsoft.com/office/drawing/2014/main" id="{04B0C7A4-405D-056D-98B5-8E29CCA4E3FB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5EE4BAB9-B490-6A69-EC63-89945F767184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Oval 124">
              <a:extLst>
                <a:ext uri="{FF2B5EF4-FFF2-40B4-BE49-F238E27FC236}">
                  <a16:creationId xmlns:a16="http://schemas.microsoft.com/office/drawing/2014/main" id="{CC3F290F-468D-8097-C5B6-C484808D2428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8" name="Grafik 37" descr="Schaf mit einfarbiger Füllung">
            <a:extLst>
              <a:ext uri="{FF2B5EF4-FFF2-40B4-BE49-F238E27FC236}">
                <a16:creationId xmlns:a16="http://schemas.microsoft.com/office/drawing/2014/main" id="{FB01B29F-F59B-9187-0B40-6C28944CA4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067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 animBg="1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48080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204" y="314960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7096" y="3563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3432" y="323598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85816" y="369316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6432" y="360680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68147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9487103" y="160819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Ziel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26582" y="3934400"/>
            <a:ext cx="914400" cy="914400"/>
          </a:xfrm>
          <a:prstGeom prst="rect">
            <a:avLst/>
          </a:prstGeom>
        </p:spPr>
      </p:pic>
      <p:grpSp>
        <p:nvGrpSpPr>
          <p:cNvPr id="16" name="Group 119">
            <a:extLst>
              <a:ext uri="{FF2B5EF4-FFF2-40B4-BE49-F238E27FC236}">
                <a16:creationId xmlns:a16="http://schemas.microsoft.com/office/drawing/2014/main" id="{49BAD4DB-6F10-D67C-0F68-9D5117CEB9D7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17" name="Teardrop 121">
              <a:extLst>
                <a:ext uri="{FF2B5EF4-FFF2-40B4-BE49-F238E27FC236}">
                  <a16:creationId xmlns:a16="http://schemas.microsoft.com/office/drawing/2014/main" id="{A7682DAE-0B71-8B27-1EDA-B6470DE828D3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F5132F19-0FA0-DBEF-0B76-9E9690534B01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Oval 124">
              <a:extLst>
                <a:ext uri="{FF2B5EF4-FFF2-40B4-BE49-F238E27FC236}">
                  <a16:creationId xmlns:a16="http://schemas.microsoft.com/office/drawing/2014/main" id="{1D98D10A-9BE8-9BB0-226F-723E8DECEE8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0" name="Grafik 19" descr="Schaf mit einfarbiger Füllung">
            <a:extLst>
              <a:ext uri="{FF2B5EF4-FFF2-40B4-BE49-F238E27FC236}">
                <a16:creationId xmlns:a16="http://schemas.microsoft.com/office/drawing/2014/main" id="{5A8AD3DB-64B4-FD45-BC55-F1ECBFE322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E158F2-4EA3-CB9D-B6E6-17A8256FF1C8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64741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3.33333E-6 0.00023 C 0.00859 -0.00255 0.01718 -0.00463 0.02578 -0.00764 C 0.04414 -0.01366 0.08073 -0.02686 0.08073 -0.02662 C 0.0858 -0.03033 0.09062 -0.03426 0.0957 -0.03727 C 0.09896 -0.03912 0.1026 -0.03936 0.10573 -0.04167 C 0.11211 -0.0463 0.11888 -0.05024 0.12409 -0.05787 C 0.13034 -0.06713 0.13073 -0.06875 0.13997 -0.0757 C 0.14336 -0.07824 0.14726 -0.0794 0.15078 -0.08172 C 0.15338 -0.08334 0.15573 -0.08588 0.1582 -0.0875 C 0.17786 -0.09977 0.15742 -0.08403 0.17578 -0.09792 C 0.17695 -0.09885 0.17799 -0.1 0.17903 -0.10093 C 0.18346 -0.10394 0.18802 -0.10672 0.19244 -0.10973 C 0.19518 -0.11181 0.19804 -0.11343 0.20078 -0.11574 C 0.2039 -0.11852 0.2138 -0.12824 0.21823 -0.12917 C 0.23372 -0.13172 0.24935 -0.13195 0.26497 -0.13357 C 0.26679 -0.13542 0.26862 -0.13797 0.2707 -0.13936 C 0.275 -0.1426 0.28489 -0.14862 0.29075 -0.15139 C 0.29218 -0.15186 0.29349 -0.15232 0.29492 -0.15278 C 0.2983 -0.15579 0.30273 -0.16042 0.30664 -0.16158 C 0.31237 -0.16366 0.32409 -0.16621 0.32409 -0.16598 C 0.32656 -0.1676 0.33242 -0.1713 0.33489 -0.17199 C 0.33737 -0.17292 0.33997 -0.17292 0.34244 -0.17362 C 0.34518 -0.17431 0.34791 -0.1757 0.35078 -0.17639 C 0.36276 -0.18033 0.35729 -0.17732 0.36328 -0.18102 C 0.36458 -0.18287 0.36588 -0.18519 0.36744 -0.18681 C 0.3681 -0.18774 0.36914 -0.1875 0.36992 -0.18843 C 0.37083 -0.18959 0.37148 -0.19144 0.37239 -0.19283 C 0.37474 -0.1963 0.37812 -0.19862 0.38073 -0.20024 C 0.38177 -0.20093 0.38294 -0.20116 0.38411 -0.20162 C 0.39192 -0.20556 0.37929 -0.20024 0.39075 -0.20463 C 0.39179 -0.2051 0.39414 -0.20602 0.39414 -0.20579 " pathEditMode="relative" rAng="0" ptsTypes="AAAAAAAAAAAAAAAAAAAAAAAAAAAAAAAA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-1.11111E-6 L 4.16667E-7 0.00023 C 0.00859 -0.00255 0.01719 -0.00463 0.02578 -0.00764 C 0.04414 -0.01366 0.08073 -0.02685 0.08073 -0.02662 C 0.08581 -0.03032 0.09062 -0.03426 0.0957 -0.03727 C 0.09896 -0.03912 0.1026 -0.03935 0.10573 -0.04167 C 0.11211 -0.0463 0.11888 -0.05023 0.12409 -0.05787 C 0.13034 -0.06713 0.13073 -0.06875 0.13997 -0.07569 C 0.14336 -0.07824 0.14727 -0.0794 0.15078 -0.08171 C 0.15339 -0.08333 0.15573 -0.08588 0.1582 -0.0875 C 0.17786 -0.09977 0.15742 -0.08403 0.17578 -0.09792 C 0.17695 -0.09884 0.17799 -0.1 0.17904 -0.10092 C 0.18346 -0.10393 0.18802 -0.10671 0.19245 -0.10972 C 0.19518 -0.1118 0.19805 -0.11342 0.20078 -0.11574 C 0.20391 -0.11852 0.2138 -0.12824 0.21823 -0.12917 C 0.23372 -0.13171 0.24935 -0.13194 0.26497 -0.13356 C 0.2668 -0.13542 0.26862 -0.13796 0.2707 -0.13935 C 0.275 -0.14259 0.2849 -0.14861 0.29075 -0.15139 C 0.29219 -0.15185 0.29349 -0.15231 0.29492 -0.15278 C 0.29831 -0.15579 0.30273 -0.16042 0.30664 -0.16157 C 0.31237 -0.16366 0.32409 -0.1662 0.32409 -0.16597 C 0.32656 -0.16759 0.33242 -0.1713 0.3349 -0.17199 C 0.33737 -0.17292 0.33997 -0.17292 0.34245 -0.17361 C 0.34518 -0.1743 0.34792 -0.17569 0.35078 -0.17639 C 0.36276 -0.18032 0.35729 -0.17731 0.36328 -0.18102 C 0.36458 -0.18287 0.36589 -0.18518 0.36745 -0.1868 C 0.3681 -0.18773 0.36914 -0.1875 0.36992 -0.18842 C 0.37083 -0.18958 0.37148 -0.19143 0.3724 -0.19282 C 0.37474 -0.1963 0.37812 -0.19861 0.38073 -0.20023 C 0.38177 -0.20092 0.38294 -0.20116 0.38411 -0.20162 C 0.39193 -0.20555 0.3793 -0.20023 0.39075 -0.20463 C 0.3918 -0.20509 0.39414 -0.20602 0.39414 -0.20579 " pathEditMode="relative" rAng="0" ptsTypes="AAAAAAAAAAAAAAAAAAAAAAAAAAAAAAAA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4.07407E-6 L 8.33333E-7 0.00023 C 0.00859 -0.00255 0.01719 -0.00463 0.02578 -0.00764 C 0.04414 -0.01366 0.08073 -0.02686 0.08073 -0.02662 C 0.08581 -0.03033 0.09062 -0.03426 0.0957 -0.03727 C 0.09896 -0.03912 0.1026 -0.03936 0.10573 -0.04167 C 0.11211 -0.0463 0.11888 -0.05024 0.12409 -0.05787 C 0.13034 -0.06713 0.13073 -0.06875 0.13997 -0.0757 C 0.14336 -0.07824 0.14726 -0.0794 0.15078 -0.08172 C 0.15338 -0.08334 0.15573 -0.08588 0.1582 -0.0875 C 0.17786 -0.09977 0.15742 -0.08403 0.17578 -0.09792 C 0.17695 -0.09885 0.17799 -0.1 0.17904 -0.10093 C 0.18346 -0.10394 0.18802 -0.10672 0.19245 -0.10973 C 0.19518 -0.11181 0.19805 -0.11343 0.20078 -0.11574 C 0.20391 -0.11852 0.2138 -0.12824 0.21823 -0.12917 C 0.23372 -0.13172 0.24935 -0.13195 0.26497 -0.13357 C 0.2668 -0.13542 0.26862 -0.13797 0.2707 -0.13936 C 0.275 -0.1426 0.2849 -0.14862 0.29075 -0.15139 C 0.29219 -0.15186 0.29349 -0.15232 0.29492 -0.15278 C 0.29831 -0.15579 0.30273 -0.16042 0.30664 -0.16158 C 0.31237 -0.16366 0.32409 -0.16621 0.32409 -0.16598 C 0.32656 -0.1676 0.33242 -0.1713 0.3349 -0.17199 C 0.33737 -0.17292 0.33997 -0.17292 0.34245 -0.17362 C 0.34518 -0.17431 0.34792 -0.1757 0.35078 -0.17639 C 0.36276 -0.18033 0.35729 -0.17732 0.36328 -0.18102 C 0.36458 -0.18287 0.36588 -0.18519 0.36745 -0.18681 C 0.3681 -0.18774 0.36914 -0.1875 0.36992 -0.18843 C 0.37083 -0.18959 0.37148 -0.19144 0.3724 -0.19283 C 0.37474 -0.1963 0.37812 -0.19862 0.38073 -0.20024 C 0.38177 -0.20093 0.38294 -0.20116 0.38411 -0.20162 C 0.39193 -0.20556 0.3793 -0.20024 0.39075 -0.20463 C 0.3918 -0.2051 0.39414 -0.20602 0.39414 -0.20579 " pathEditMode="relative" rAng="0" ptsTypes="AAAAAAAAAAAAAAAAAAAAAAAAAAAAAAAA"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-2.59259E-6 L 3.95833E-6 0.00023 C 0.00859 -0.00254 0.01718 -0.00463 0.02578 -0.00764 C 0.04414 -0.01365 0.08073 -0.02685 0.08073 -0.02662 C 0.0858 -0.03032 0.09062 -0.03426 0.0957 -0.03727 C 0.09895 -0.03912 0.1026 -0.03935 0.10573 -0.04166 C 0.11211 -0.04629 0.11888 -0.05023 0.12408 -0.05787 C 0.13033 -0.06713 0.13073 -0.06875 0.13997 -0.07569 C 0.14336 -0.07824 0.14726 -0.0794 0.15078 -0.08171 C 0.15338 -0.08333 0.15573 -0.08588 0.1582 -0.0875 C 0.17786 -0.09977 0.15742 -0.08403 0.17578 -0.09791 C 0.17695 -0.09884 0.17799 -0.1 0.17903 -0.10092 C 0.18346 -0.10393 0.18802 -0.10671 0.19244 -0.10972 C 0.19518 -0.1118 0.19804 -0.11342 0.20078 -0.11574 C 0.2039 -0.11852 0.2138 -0.12824 0.21823 -0.12916 C 0.23372 -0.13171 0.24935 -0.13194 0.26497 -0.13356 C 0.26679 -0.13541 0.26862 -0.13796 0.2707 -0.13935 C 0.275 -0.14259 0.28489 -0.14861 0.29075 -0.15139 C 0.29218 -0.15185 0.29349 -0.15231 0.29492 -0.15278 C 0.2983 -0.15578 0.30273 -0.16041 0.30664 -0.16157 C 0.31237 -0.16365 0.32408 -0.1662 0.32408 -0.16597 C 0.32656 -0.16759 0.33242 -0.17129 0.33489 -0.17199 C 0.33737 -0.17291 0.33997 -0.17291 0.34244 -0.17361 C 0.34518 -0.1743 0.34791 -0.17569 0.35078 -0.17639 C 0.36276 -0.18032 0.35729 -0.17731 0.36328 -0.18102 C 0.36458 -0.18287 0.36588 -0.18518 0.36744 -0.1868 C 0.3681 -0.18773 0.36914 -0.1875 0.36992 -0.18842 C 0.37083 -0.18958 0.37148 -0.19143 0.37239 -0.19282 C 0.37474 -0.19629 0.37812 -0.19861 0.38073 -0.20023 C 0.38177 -0.20092 0.38294 -0.20115 0.38411 -0.20162 C 0.39192 -0.20555 0.37929 -0.20023 0.39075 -0.20463 C 0.39179 -0.20509 0.39414 -0.20602 0.39414 -0.20578 " pathEditMode="relative" rAng="0" ptsTypes="AAAAAAAAAAAAAAAAAAAAAAAAAAAAAAAA">
                                      <p:cBhvr>
                                        <p:cTn id="12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-2.59259E-6 L 5.55112E-17 0.00023 C 0.00859 -0.00254 0.01719 -0.00463 0.02578 -0.00764 C 0.04414 -0.01365 0.08073 -0.02685 0.08073 -0.02662 C 0.08581 -0.03032 0.09063 -0.03426 0.0957 -0.03727 C 0.09896 -0.03912 0.1026 -0.03935 0.10573 -0.04166 C 0.11211 -0.04629 0.11888 -0.05023 0.12409 -0.05787 C 0.13034 -0.06713 0.13073 -0.06875 0.13997 -0.07569 C 0.14336 -0.07824 0.14727 -0.0794 0.15078 -0.08171 C 0.15339 -0.08333 0.15573 -0.08588 0.1582 -0.0875 C 0.17786 -0.09977 0.15742 -0.08403 0.17578 -0.09791 C 0.17695 -0.09884 0.17799 -0.1 0.17904 -0.10092 C 0.18346 -0.10393 0.18802 -0.10671 0.19245 -0.10972 C 0.19518 -0.1118 0.19805 -0.11342 0.20078 -0.11574 C 0.20391 -0.11852 0.2138 -0.12824 0.21823 -0.12916 C 0.23372 -0.13171 0.24935 -0.13194 0.26497 -0.13356 C 0.2668 -0.13541 0.26862 -0.13796 0.2707 -0.13935 C 0.275 -0.14259 0.2849 -0.14861 0.29076 -0.15139 C 0.29219 -0.15185 0.29349 -0.15231 0.29492 -0.15278 C 0.29831 -0.15578 0.30273 -0.16041 0.30664 -0.16157 C 0.31237 -0.16365 0.32409 -0.1662 0.32409 -0.16597 C 0.32656 -0.16759 0.33242 -0.17129 0.3349 -0.17199 C 0.33737 -0.17291 0.33997 -0.17291 0.34245 -0.17361 C 0.34518 -0.1743 0.34792 -0.17569 0.35078 -0.17639 C 0.36276 -0.18032 0.35729 -0.17731 0.36328 -0.18102 C 0.36458 -0.18287 0.36589 -0.18518 0.36745 -0.1868 C 0.3681 -0.18773 0.36914 -0.1875 0.36992 -0.18842 C 0.37083 -0.18958 0.37148 -0.19143 0.3724 -0.19282 C 0.37474 -0.19629 0.37813 -0.19861 0.38073 -0.20023 C 0.38177 -0.20092 0.38294 -0.20115 0.38411 -0.20162 C 0.39193 -0.20555 0.3793 -0.20023 0.39076 -0.20463 C 0.3918 -0.20509 0.39414 -0.20602 0.39414 -0.20578 " pathEditMode="relative" rAng="0" ptsTypes="AAAAAAAAAAAAAAAAAAAAAAAAAAAAAAAA">
                                      <p:cBhvr>
                                        <p:cTn id="1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2.22222E-6 L 8.33333E-7 0.00023 C 0.00859 -0.00255 0.01719 -0.00463 0.02578 -0.00764 C 0.04414 -0.01366 0.08073 -0.02685 0.08073 -0.02662 C 0.08581 -0.03033 0.09062 -0.03426 0.0957 -0.03727 C 0.09896 -0.03912 0.1026 -0.03935 0.10573 -0.04167 C 0.11211 -0.0463 0.11888 -0.05023 0.12409 -0.05787 C 0.13034 -0.06713 0.13073 -0.06875 0.13997 -0.0757 C 0.14336 -0.07824 0.14726 -0.0794 0.15078 -0.08172 C 0.15338 -0.08334 0.15573 -0.08588 0.1582 -0.0875 C 0.17786 -0.09977 0.15742 -0.08403 0.17578 -0.09792 C 0.17695 -0.09884 0.17799 -0.1 0.17904 -0.10093 C 0.18346 -0.10394 0.18802 -0.10672 0.19245 -0.10972 C 0.19518 -0.11181 0.19805 -0.11343 0.20078 -0.11574 C 0.20391 -0.11852 0.2138 -0.12824 0.21823 -0.12917 C 0.23372 -0.13172 0.24935 -0.13195 0.26497 -0.13357 C 0.2668 -0.13542 0.26862 -0.13797 0.2707 -0.13935 C 0.275 -0.14259 0.2849 -0.14861 0.29075 -0.15139 C 0.29206 -0.15185 0.29336 -0.15232 0.29492 -0.15278 C 0.29831 -0.15579 0.3026 -0.16042 0.30651 -0.16158 C 0.31237 -0.16366 0.32409 -0.16621 0.32409 -0.16597 C 0.32656 -0.16759 0.33242 -0.1713 0.3349 -0.17199 C 0.33737 -0.17292 0.33997 -0.17292 0.34245 -0.17361 C 0.34518 -0.17431 0.34792 -0.1757 0.35078 -0.17639 C 0.36276 -0.18033 0.35729 -0.17732 0.36328 -0.18102 C 0.36458 -0.18287 0.36588 -0.18519 0.36745 -0.18681 C 0.3681 -0.18773 0.36914 -0.1875 0.36992 -0.18843 C 0.37083 -0.18959 0.37148 -0.19144 0.3724 -0.19283 C 0.37474 -0.1963 0.37812 -0.19861 0.38073 -0.20023 C 0.38177 -0.20093 0.38294 -0.20116 0.38411 -0.20162 C 0.39193 -0.20556 0.3793 -0.20023 0.39075 -0.20463 C 0.3918 -0.20509 0.39414 -0.20602 0.39414 -0.20579 " pathEditMode="relative" rAng="0" ptsTypes="AAAAAAAAAAAAAAAAAAAAAAAAAAAAAAAA">
                                      <p:cBhvr>
                                        <p:cTn id="1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01" y="-1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31F344D-1760-8D98-4EEC-5A099F73EB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164183" y="1369060"/>
            <a:ext cx="9341104" cy="4648200"/>
          </a:xfrm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43BE14F-CDF5-7A5E-86AD-B1C907529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Shepherding</a:t>
            </a:r>
            <a:r>
              <a:rPr lang="de-DE" dirty="0"/>
              <a:t> Problem</a:t>
            </a:r>
          </a:p>
        </p:txBody>
      </p:sp>
      <p:pic>
        <p:nvPicPr>
          <p:cNvPr id="5" name="Grafik 4" descr="Schaf mit einfarbiger Füllung">
            <a:extLst>
              <a:ext uri="{FF2B5EF4-FFF2-40B4-BE49-F238E27FC236}">
                <a16:creationId xmlns:a16="http://schemas.microsoft.com/office/drawing/2014/main" id="{00E7433A-6FA7-1CCB-B9CC-53D453432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97307" y="3149600"/>
            <a:ext cx="828000" cy="828000"/>
          </a:xfrm>
          <a:prstGeom prst="rect">
            <a:avLst/>
          </a:prstGeom>
        </p:spPr>
      </p:pic>
      <p:pic>
        <p:nvPicPr>
          <p:cNvPr id="6" name="Grafik 5" descr="Schaf mit einfarbiger Füllung">
            <a:extLst>
              <a:ext uri="{FF2B5EF4-FFF2-40B4-BE49-F238E27FC236}">
                <a16:creationId xmlns:a16="http://schemas.microsoft.com/office/drawing/2014/main" id="{80E2F760-717C-E8DB-FCF3-03B144EB2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199" y="3563600"/>
            <a:ext cx="828000" cy="828000"/>
          </a:xfrm>
          <a:prstGeom prst="rect">
            <a:avLst/>
          </a:prstGeom>
        </p:spPr>
      </p:pic>
      <p:pic>
        <p:nvPicPr>
          <p:cNvPr id="7" name="Grafik 6" descr="Schaf mit einfarbiger Füllung">
            <a:extLst>
              <a:ext uri="{FF2B5EF4-FFF2-40B4-BE49-F238E27FC236}">
                <a16:creationId xmlns:a16="http://schemas.microsoft.com/office/drawing/2014/main" id="{3062EF3F-DE5E-D637-4323-C899703BF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535" y="3235980"/>
            <a:ext cx="828000" cy="828000"/>
          </a:xfrm>
          <a:prstGeom prst="rect">
            <a:avLst/>
          </a:prstGeom>
        </p:spPr>
      </p:pic>
      <p:pic>
        <p:nvPicPr>
          <p:cNvPr id="8" name="Grafik 7" descr="Schaf mit einfarbiger Füllung">
            <a:extLst>
              <a:ext uri="{FF2B5EF4-FFF2-40B4-BE49-F238E27FC236}">
                <a16:creationId xmlns:a16="http://schemas.microsoft.com/office/drawing/2014/main" id="{EC9AE0AE-DA4F-2ED2-4CF0-31EE5D813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01919" y="3693160"/>
            <a:ext cx="828000" cy="828000"/>
          </a:xfrm>
          <a:prstGeom prst="rect">
            <a:avLst/>
          </a:prstGeom>
        </p:spPr>
      </p:pic>
      <p:pic>
        <p:nvPicPr>
          <p:cNvPr id="9" name="Grafik 8" descr="Schaf mit einfarbiger Füllung">
            <a:extLst>
              <a:ext uri="{FF2B5EF4-FFF2-40B4-BE49-F238E27FC236}">
                <a16:creationId xmlns:a16="http://schemas.microsoft.com/office/drawing/2014/main" id="{FF4997A2-DE54-1FCD-EDC9-30584149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2535" y="3606800"/>
            <a:ext cx="828000" cy="828000"/>
          </a:xfrm>
          <a:prstGeom prst="rect">
            <a:avLst/>
          </a:prstGeom>
        </p:spPr>
      </p:pic>
      <p:pic>
        <p:nvPicPr>
          <p:cNvPr id="10" name="Grafik 9" descr="Hinzufügen mit einfarbiger Füllung">
            <a:extLst>
              <a:ext uri="{FF2B5EF4-FFF2-40B4-BE49-F238E27FC236}">
                <a16:creationId xmlns:a16="http://schemas.microsoft.com/office/drawing/2014/main" id="{1AE37731-6C99-EAC7-42DA-47981C1D1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500272">
            <a:off x="9284250" y="2169371"/>
            <a:ext cx="432000" cy="4320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F82085A-9893-757C-BCCE-87916DB9877B}"/>
              </a:ext>
            </a:extLst>
          </p:cNvPr>
          <p:cNvSpPr txBox="1"/>
          <p:nvPr/>
        </p:nvSpPr>
        <p:spPr>
          <a:xfrm>
            <a:off x="8802319" y="1953637"/>
            <a:ext cx="175798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sz="3200" dirty="0">
                <a:solidFill>
                  <a:srgbClr val="313131"/>
                </a:solidFill>
              </a:rPr>
              <a:t>Ziel</a:t>
            </a:r>
          </a:p>
        </p:txBody>
      </p:sp>
      <p:pic>
        <p:nvPicPr>
          <p:cNvPr id="12" name="Grafik 11" descr="Hund mit einfarbiger Füllung">
            <a:extLst>
              <a:ext uri="{FF2B5EF4-FFF2-40B4-BE49-F238E27FC236}">
                <a16:creationId xmlns:a16="http://schemas.microsoft.com/office/drawing/2014/main" id="{1CDCDA4E-8202-6927-AE16-56E00689A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62895" y="4198560"/>
            <a:ext cx="914400" cy="9144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6454D39-C1C1-6250-6280-E5A0170E6F9A}"/>
              </a:ext>
            </a:extLst>
          </p:cNvPr>
          <p:cNvSpPr txBox="1"/>
          <p:nvPr/>
        </p:nvSpPr>
        <p:spPr>
          <a:xfrm>
            <a:off x="1777307" y="2105776"/>
            <a:ext cx="51211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0" i="1" dirty="0">
                <a:solidFill>
                  <a:srgbClr val="040C28"/>
                </a:solidFill>
                <a:effectLst/>
                <a:latin typeface="Google Sans"/>
              </a:rPr>
              <a:t>“The problem of guiding a flock of several autonomous agents using repulsion force exerted by a smaller number of agents.</a:t>
            </a:r>
            <a:endParaRPr lang="de-DE" sz="2800" i="1" dirty="0"/>
          </a:p>
        </p:txBody>
      </p:sp>
      <p:grpSp>
        <p:nvGrpSpPr>
          <p:cNvPr id="18" name="Group 119">
            <a:extLst>
              <a:ext uri="{FF2B5EF4-FFF2-40B4-BE49-F238E27FC236}">
                <a16:creationId xmlns:a16="http://schemas.microsoft.com/office/drawing/2014/main" id="{3C2E2F28-5F71-1B74-B4C7-8CFC08D3DCA6}"/>
              </a:ext>
            </a:extLst>
          </p:cNvPr>
          <p:cNvGrpSpPr/>
          <p:nvPr/>
        </p:nvGrpSpPr>
        <p:grpSpPr>
          <a:xfrm>
            <a:off x="10270670" y="-1638753"/>
            <a:ext cx="1598523" cy="2005765"/>
            <a:chOff x="2055768" y="1602865"/>
            <a:chExt cx="1598523" cy="2005765"/>
          </a:xfrm>
        </p:grpSpPr>
        <p:sp>
          <p:nvSpPr>
            <p:cNvPr id="19" name="Teardrop 121">
              <a:extLst>
                <a:ext uri="{FF2B5EF4-FFF2-40B4-BE49-F238E27FC236}">
                  <a16:creationId xmlns:a16="http://schemas.microsoft.com/office/drawing/2014/main" id="{23CE6FEF-1AA2-3B89-F2FC-DAAD4E0DF6B7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FBC688EF-A571-6511-8B80-10FD4F09B015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Oval 124">
              <a:extLst>
                <a:ext uri="{FF2B5EF4-FFF2-40B4-BE49-F238E27FC236}">
                  <a16:creationId xmlns:a16="http://schemas.microsoft.com/office/drawing/2014/main" id="{EBB52942-46EA-F8C7-208D-4B444C6A2A66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2" name="Grafik 21" descr="Schaf mit einfarbiger Füllung">
            <a:extLst>
              <a:ext uri="{FF2B5EF4-FFF2-40B4-BE49-F238E27FC236}">
                <a16:creationId xmlns:a16="http://schemas.microsoft.com/office/drawing/2014/main" id="{3634F828-34F2-4CF7-3468-9BC7644C54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78633" y="-1326262"/>
            <a:ext cx="828000" cy="828000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62BF07F-2987-F7D1-E067-31510F56CD4C}"/>
              </a:ext>
            </a:extLst>
          </p:cNvPr>
          <p:cNvSpPr txBox="1">
            <a:spLocks/>
          </p:cNvSpPr>
          <p:nvPr/>
        </p:nvSpPr>
        <p:spPr bwMode="gray">
          <a:xfrm>
            <a:off x="10019300" y="-635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5547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4.07407E-6 L 1.04167E-6 0.00023 C 0.04297 -0.01737 0.08646 -0.03195 0.12917 -0.05186 C 0.15651 -0.06482 0.20612 -0.08912 0.23503 -0.09931 C 0.24492 -0.10278 0.25495 -0.10417 0.26497 -0.10672 C 0.27734 -0.11019 0.28607 -0.11204 0.29753 -0.12014 C 0.32969 -0.14283 0.30989 -0.12987 0.33503 -0.15417 C 0.34206 -0.16112 0.34961 -0.16621 0.35664 -0.17338 C 0.36302 -0.1801 0.36888 -0.1882 0.375 -0.19561 C 0.37591 -0.19676 0.37943 -0.20186 0.38086 -0.20301 C 0.38164 -0.20371 0.38242 -0.20417 0.38333 -0.20463 L 0.39831 -0.21204 C 0.39974 -0.2125 0.40104 -0.2132 0.40247 -0.21343 C 0.40417 -0.21366 0.40586 -0.21343 0.40755 -0.21343 " pathEditMode="relative" rAng="0" ptsTypes="AAAAAAAAAAAAAA">
                                      <p:cBhvr>
                                        <p:cTn id="6" dur="3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1.11111E-6 L -1.66667E-6 0.00023 C 0.04297 -0.01736 0.08646 -0.03194 0.12917 -0.05185 C 0.15651 -0.06481 0.20612 -0.08912 0.23503 -0.0993 C 0.24492 -0.10278 0.25495 -0.10417 0.26498 -0.10671 C 0.27735 -0.11018 0.28607 -0.11204 0.29753 -0.12014 C 0.32969 -0.14282 0.3099 -0.12986 0.33503 -0.15417 C 0.34206 -0.16111 0.34961 -0.1662 0.35664 -0.17338 C 0.36302 -0.18009 0.36888 -0.18819 0.375 -0.1956 C 0.37591 -0.19676 0.37943 -0.20185 0.38086 -0.20301 C 0.38164 -0.2037 0.38242 -0.20417 0.38334 -0.20463 L 0.39831 -0.21204 C 0.39974 -0.2125 0.40104 -0.21319 0.40248 -0.21342 C 0.40417 -0.21366 0.40586 -0.21342 0.40755 -0.21342 " pathEditMode="relative" rAng="0" ptsTypes="AAAAAAAAAAAAAA">
                                      <p:cBhvr>
                                        <p:cTn id="8" dur="3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4.07407E-6 L -1.25E-6 0.00023 C 0.04297 -0.01737 0.08646 -0.03195 0.12917 -0.05186 C 0.15651 -0.06482 0.20612 -0.08912 0.23503 -0.09931 C 0.24492 -0.10278 0.25495 -0.10417 0.26498 -0.10672 C 0.27735 -0.11019 0.28607 -0.11204 0.29753 -0.12014 C 0.32969 -0.14283 0.3099 -0.12987 0.33503 -0.15417 C 0.34206 -0.16112 0.34961 -0.16621 0.35664 -0.17338 C 0.36302 -0.1801 0.36888 -0.1882 0.375 -0.19561 C 0.37591 -0.19676 0.37943 -0.20186 0.38086 -0.20301 C 0.38164 -0.20371 0.38242 -0.20417 0.38333 -0.20463 L 0.39831 -0.21204 C 0.39974 -0.2125 0.40104 -0.2132 0.40248 -0.21343 C 0.40417 -0.21366 0.40586 -0.21343 0.40755 -0.21343 " pathEditMode="relative" rAng="0" ptsTypes="AAAAAAAAAAAAAA">
                                      <p:cBhvr>
                                        <p:cTn id="10" dur="3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2.59259E-6 L -2.08333E-6 0.00023 C 0.04297 -0.01736 0.08646 -0.03194 0.12917 -0.05185 C 0.15651 -0.06481 0.20612 -0.08912 0.23503 -0.0993 C 0.24492 -0.10278 0.25495 -0.10416 0.26498 -0.10671 C 0.27735 -0.11018 0.28607 -0.11203 0.29753 -0.12014 C 0.32969 -0.14282 0.3099 -0.12986 0.33503 -0.15416 C 0.34206 -0.16111 0.34961 -0.1662 0.35664 -0.17338 C 0.36302 -0.18009 0.36888 -0.18819 0.375 -0.1956 C 0.37591 -0.19676 0.37943 -0.20185 0.38086 -0.20301 C 0.38164 -0.2037 0.38242 -0.20416 0.38334 -0.20463 L 0.39831 -0.21203 C 0.39974 -0.2125 0.40104 -0.21319 0.40248 -0.21342 C 0.40417 -0.21365 0.40586 -0.21342 0.40755 -0.21342 " pathEditMode="relative" rAng="0" ptsTypes="AAAAAAAAAAAAAA">
                                      <p:cBhvr>
                                        <p:cTn id="12" dur="3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378" y="-1067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43 0.00093 L 0.00443 0.00116 C 0.01601 -0.00602 0.02786 -0.01203 0.03932 -0.0199 C 0.04375 -0.02291 0.04765 -0.02801 0.05182 -0.03171 C 0.08086 -0.05625 0.06888 -0.04745 0.08932 -0.05833 C 0.09101 -0.05926 0.09271 -0.06065 0.0944 -0.06134 C 0.09622 -0.06203 0.09831 -0.06227 0.10026 -0.06273 C 0.10547 -0.06389 0.11081 -0.06481 0.11601 -0.06574 C 0.12357 -0.0669 0.13555 -0.06805 0.14271 -0.06875 C 0.1845 -0.06666 0.16068 -0.0706 0.17604 -0.06574 C 0.17773 -0.06528 0.17943 -0.06504 0.18099 -0.06435 C 0.18268 -0.06342 0.18437 -0.06227 0.18607 -0.06134 C 0.18932 -0.05671 0.19206 -0.05301 0.19609 -0.04953 C 0.19713 -0.04838 0.19831 -0.04768 0.19935 -0.04653 C 0.20065 -0.0449 0.20143 -0.04213 0.20273 -0.04051 C 0.20338 -0.03958 0.20443 -0.03981 0.20521 -0.03912 C 0.20859 -0.03634 0.21172 -0.03217 0.21523 -0.03009 C 0.21693 -0.02916 0.21862 -0.02847 0.22018 -0.02731 C 0.22187 -0.02592 0.22357 -0.02453 0.22526 -0.02268 C 0.22721 -0.0206 0.22877 -0.0169 0.23099 -0.01528 C 0.23424 -0.01319 0.23776 -0.01389 0.24101 -0.0125 C 0.2444 -0.01088 0.24778 -0.00995 0.25104 -0.00787 C 0.25182 -0.0074 0.25273 -0.00694 0.25351 -0.00648 C 0.25495 -0.00555 0.25625 -0.0044 0.25768 -0.00347 C 0.25911 -0.00278 0.26055 -0.00254 0.26185 -0.00208 C 0.26406 -0.00115 0.26627 -2.59259E-6 0.26849 0.00093 C 0.27226 0.00232 0.27943 0.00324 0.28268 0.00394 C 0.28607 0.00579 0.28932 0.00834 0.29271 0.00972 C 0.29778 0.01204 0.29492 0.01065 0.30104 0.01435 C 0.30521 0.01227 0.3095 0.01111 0.31354 0.00834 C 0.31458 0.00764 0.3151 0.0051 0.31601 0.00394 C 0.31758 0.00209 0.3194 0.00116 0.32109 -0.00046 C 0.32513 -0.00486 0.32357 -0.0044 0.32682 -0.00949 C 0.32903 -0.01273 0.33099 -0.01412 0.33268 -0.01828 C 0.33437 -0.02245 0.33815 -0.03356 0.33932 -0.03912 C 0.3401 -0.04236 0.34049 -0.04606 0.34101 -0.04953 C 0.34127 -0.05926 0.34127 -0.06921 0.34193 -0.07893 C 0.34206 -0.08217 0.3431 -0.08495 0.34349 -0.08796 C 0.34388 -0.09028 0.34414 -0.09282 0.3444 -0.09537 C 0.3457 -0.11088 0.34427 -0.10254 0.34609 -0.11157 C 0.34635 -0.11666 0.34661 -0.12153 0.34687 -0.12639 C 0.34726 -0.13426 0.34726 -0.14236 0.34765 -0.15 C 0.34805 -0.15602 0.3487 -0.16203 0.34935 -0.16782 C 0.35195 -0.19097 0.35 -0.16782 0.35443 -0.19606 C 0.35521 -0.20139 0.35547 -0.20694 0.35599 -0.21227 C 0.35625 -0.21435 0.35638 -0.21643 0.3569 -0.21828 C 0.35755 -0.22129 0.35846 -0.2243 0.35937 -0.22708 C 0.36107 -0.2324 0.36015 -0.23148 0.36276 -0.23148 " pathEditMode="relative" rAng="0" ptsTypes="AAAAAAAAAAAAAAAAAAAAAAAAAAAAAAAAAAAAAAAAAAAAAAAA">
                                      <p:cBhvr>
                                        <p:cTn id="14" dur="4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917" y="-109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4.81481E-6 L 1.875E-6 0.00023 C 0.00416 -0.00047 0.00859 -0.00024 0.01276 -0.00139 C 0.01393 -0.00186 0.01458 -0.00325 0.01549 -0.0044 C 0.01849 -0.00788 0.02122 -0.0125 0.02474 -0.01482 C 0.02773 -0.01667 0.03099 -0.0176 0.03398 -0.01922 C 0.03581 -0.02014 0.03776 -0.0213 0.03958 -0.02223 C 0.04206 -0.02338 0.04453 -0.02408 0.04687 -0.02524 C 0.04883 -0.02593 0.05052 -0.02732 0.05234 -0.02801 C 0.05456 -0.02917 0.0569 -0.02987 0.05885 -0.03102 C 0.06081 -0.03218 0.0625 -0.03473 0.06432 -0.03542 C 0.0668 -0.03658 0.0694 -0.03635 0.07187 -0.03704 C 0.07565 -0.0382 0.07903 -0.04051 0.08281 -0.04144 C 0.08984 -0.04306 0.09713 -0.04237 0.10416 -0.04445 L 0.11419 -0.04746 C 0.11888 -0.04885 0.12344 -0.0507 0.12812 -0.05186 C 0.13164 -0.05278 0.13541 -0.05278 0.13919 -0.05325 C 0.14661 -0.05741 0.15443 -0.06065 0.16224 -0.06366 C 0.16497 -0.06482 0.16771 -0.06575 0.17044 -0.06667 C 0.17291 -0.06737 0.17552 -0.0676 0.17799 -0.06806 C 0.20377 -0.08056 0.19153 -0.07616 0.24336 -0.07408 C 0.26133 -0.07338 0.27903 -0.07014 0.29687 -0.06806 C 0.30091 -0.06505 0.30495 -0.0625 0.30885 -0.05926 C 0.31081 -0.05764 0.3125 -0.05463 0.31445 -0.05325 C 0.31732 -0.05116 0.3207 -0.0507 0.3237 -0.04885 C 0.32708 -0.04676 0.33034 -0.04375 0.33372 -0.04144 C 0.34505 -0.03403 0.35039 -0.0338 0.36237 -0.02223 C 0.37956 -0.00556 0.35351 -0.03125 0.37148 -0.01181 C 0.37552 -0.00764 0.37956 -0.00394 0.38359 4.81481E-6 C 0.38502 0.00162 0.38685 0.00277 0.38828 0.00439 C 0.38893 0.00555 0.39336 0.01087 0.39466 0.0118 C 0.39622 0.01296 0.39791 0.01342 0.39922 0.01481 C 0.40195 0.01736 0.40364 0.02245 0.40664 0.02384 C 0.41432 0.02685 0.40586 0.02291 0.41588 0.02962 C 0.41771 0.03078 0.41966 0.03148 0.42135 0.03263 C 0.42838 0.03726 0.42526 0.03703 0.43255 0.04004 C 0.43424 0.04074 0.4362 0.04074 0.43802 0.04143 C 0.44609 0.04467 0.44127 0.04467 0.45 0.04745 C 0.45403 0.04861 0.45807 0.04953 0.46211 0.05046 C 0.46719 0.05162 0.47552 0.05254 0.48047 0.05347 C 0.48789 0.05277 0.49518 0.05324 0.5026 0.05185 C 0.50403 0.05162 0.50495 0.04953 0.50625 0.04884 C 0.50937 0.04745 0.51263 0.04791 0.51549 0.04606 C 0.51693 0.0449 0.51862 0.04351 0.52018 0.04305 C 0.52539 0.0412 0.53073 0.0405 0.53581 0.03865 C 0.53698 0.03796 0.53828 0.03773 0.53945 0.03703 C 0.54075 0.03634 0.54193 0.03518 0.54323 0.03402 C 0.55065 0.01597 0.54336 0.03449 0.54974 0.01643 C 0.55013 0.01481 0.55104 0.01342 0.55143 0.0118 C 0.55338 0.00462 0.55312 0.00277 0.5543 -0.0044 C 0.55469 -0.00834 0.55547 -0.01227 0.55599 -0.01621 C 0.55638 -0.01783 0.55677 -0.01922 0.55703 -0.02061 C 0.55781 -0.02616 0.5582 -0.03149 0.55898 -0.03704 C 0.5582 -0.08588 0.55794 -0.13473 0.55703 -0.18357 C 0.55495 -0.28704 0.55521 -0.18843 0.55521 -0.23542 " pathEditMode="relative" rAng="0" ptsTypes="AAAAAAAAAAAAAAAAAAAAAAAAAAAAAAAAAAAAAAAAAAAAAAAAAAAAAAA">
                                      <p:cBhvr>
                                        <p:cTn id="16" dur="4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943" y="-90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10A51B-281E-4DD0-BCB8-0BB86F46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br>
              <a:rPr lang="de-DE" dirty="0"/>
            </a:br>
            <a:endParaRPr lang="de-DE" dirty="0"/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D818A44A-E511-45D4-B2D6-5461597CA302}"/>
              </a:ext>
            </a:extLst>
          </p:cNvPr>
          <p:cNvSpPr/>
          <p:nvPr/>
        </p:nvSpPr>
        <p:spPr bwMode="gray">
          <a:xfrm>
            <a:off x="9562100" y="4110074"/>
            <a:ext cx="2160000" cy="5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742950" y="3789814"/>
            <a:ext cx="2160000" cy="3742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CCCC734A-C57E-410D-B5A5-BC47B8BA63AF}"/>
              </a:ext>
            </a:extLst>
          </p:cNvPr>
          <p:cNvSpPr/>
          <p:nvPr/>
        </p:nvSpPr>
        <p:spPr bwMode="gray">
          <a:xfrm>
            <a:off x="469900" y="4110074"/>
            <a:ext cx="2160000" cy="5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5016000" y="4110074"/>
            <a:ext cx="2160000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8" name="Rectangle 5">
            <a:extLst>
              <a:ext uri="{FF2B5EF4-FFF2-40B4-BE49-F238E27FC236}">
                <a16:creationId xmlns:a16="http://schemas.microsoft.com/office/drawing/2014/main" id="{29EF69E9-7F38-4B85-9F75-DB513DB8A8DA}"/>
              </a:ext>
            </a:extLst>
          </p:cNvPr>
          <p:cNvSpPr/>
          <p:nvPr/>
        </p:nvSpPr>
        <p:spPr bwMode="gray">
          <a:xfrm>
            <a:off x="7289050" y="4110074"/>
            <a:ext cx="216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1CC600D2-1B61-42B8-A53D-A0A30767A817}"/>
              </a:ext>
            </a:extLst>
          </p:cNvPr>
          <p:cNvSpPr txBox="1">
            <a:spLocks/>
          </p:cNvSpPr>
          <p:nvPr/>
        </p:nvSpPr>
        <p:spPr bwMode="gray">
          <a:xfrm>
            <a:off x="9562100" y="3190700"/>
            <a:ext cx="2160000" cy="1823637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7429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43C274B-2C0D-4EF5-9D2D-186BA04A4A62}"/>
              </a:ext>
            </a:extLst>
          </p:cNvPr>
          <p:cNvSpPr txBox="1">
            <a:spLocks/>
          </p:cNvSpPr>
          <p:nvPr/>
        </p:nvSpPr>
        <p:spPr bwMode="gray">
          <a:xfrm>
            <a:off x="4699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501600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>
                <a:solidFill>
                  <a:srgbClr val="007CB0"/>
                </a:solidFill>
                <a:latin typeface="Calibri"/>
              </a:rPr>
              <a:t>Practice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7CB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7CB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92BC711-077A-4D01-94DA-7128D3D3BB6A}"/>
              </a:ext>
            </a:extLst>
          </p:cNvPr>
          <p:cNvSpPr txBox="1">
            <a:spLocks/>
          </p:cNvSpPr>
          <p:nvPr/>
        </p:nvSpPr>
        <p:spPr bwMode="gray">
          <a:xfrm>
            <a:off x="7289050" y="3190700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de-DE" sz="1600" dirty="0" err="1">
                <a:solidFill>
                  <a:srgbClr val="86BC25"/>
                </a:solidFill>
                <a:latin typeface="Calibri"/>
              </a:rPr>
              <a:t>Extensions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4EDFEF8-557F-49C3-A558-7FE3B642AC34}"/>
              </a:ext>
            </a:extLst>
          </p:cNvPr>
          <p:cNvSpPr/>
          <p:nvPr/>
        </p:nvSpPr>
        <p:spPr bwMode="gray">
          <a:xfrm>
            <a:off x="9135969" y="2890478"/>
            <a:ext cx="776455" cy="77889"/>
          </a:xfrm>
          <a:prstGeom prst="rect">
            <a:avLst/>
          </a:prstGeom>
          <a:gradFill>
            <a:gsLst>
              <a:gs pos="16000">
                <a:schemeClr val="accent1"/>
              </a:gs>
              <a:gs pos="83000">
                <a:schemeClr val="bg2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44FF225-4BB4-42B6-ABE2-F4E1036D3532}"/>
              </a:ext>
            </a:extLst>
          </p:cNvPr>
          <p:cNvSpPr/>
          <p:nvPr/>
        </p:nvSpPr>
        <p:spPr bwMode="gray">
          <a:xfrm>
            <a:off x="2208561" y="2890479"/>
            <a:ext cx="908821" cy="77889"/>
          </a:xfrm>
          <a:prstGeom prst="rect">
            <a:avLst/>
          </a:prstGeom>
          <a:gradFill>
            <a:gsLst>
              <a:gs pos="17000">
                <a:schemeClr val="accent5"/>
              </a:gs>
              <a:gs pos="83000">
                <a:srgbClr val="046A38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3EC2A19-030D-4F6D-AAE3-0638CADC878A}"/>
              </a:ext>
            </a:extLst>
          </p:cNvPr>
          <p:cNvGrpSpPr/>
          <p:nvPr/>
        </p:nvGrpSpPr>
        <p:grpSpPr>
          <a:xfrm>
            <a:off x="708570" y="1758004"/>
            <a:ext cx="1598523" cy="2005765"/>
            <a:chOff x="2055768" y="1602865"/>
            <a:chExt cx="1598523" cy="2005765"/>
          </a:xfrm>
        </p:grpSpPr>
        <p:sp>
          <p:nvSpPr>
            <p:cNvPr id="122" name="Teardrop 121">
              <a:extLst>
                <a:ext uri="{FF2B5EF4-FFF2-40B4-BE49-F238E27FC236}">
                  <a16:creationId xmlns:a16="http://schemas.microsoft.com/office/drawing/2014/main" id="{36921185-60E3-4E47-9B80-4E6E488065D9}"/>
                </a:ext>
              </a:extLst>
            </p:cNvPr>
            <p:cNvSpPr/>
            <p:nvPr/>
          </p:nvSpPr>
          <p:spPr bwMode="gray">
            <a:xfrm rot="8100000">
              <a:off x="2103109" y="1602865"/>
              <a:ext cx="1503841" cy="1503844"/>
            </a:xfrm>
            <a:prstGeom prst="teardrop">
              <a:avLst/>
            </a:pr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3" name="Freeform 23">
              <a:extLst>
                <a:ext uri="{FF2B5EF4-FFF2-40B4-BE49-F238E27FC236}">
                  <a16:creationId xmlns:a16="http://schemas.microsoft.com/office/drawing/2014/main" id="{63543E58-773F-4ECC-AE41-B64295829B6E}"/>
                </a:ext>
              </a:extLst>
            </p:cNvPr>
            <p:cNvSpPr/>
            <p:nvPr/>
          </p:nvSpPr>
          <p:spPr bwMode="gray">
            <a:xfrm>
              <a:off x="2055768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921DCB89-68EB-4171-B7ED-C7750D1C6101}"/>
                </a:ext>
              </a:extLst>
            </p:cNvPr>
            <p:cNvSpPr/>
            <p:nvPr/>
          </p:nvSpPr>
          <p:spPr bwMode="gray">
            <a:xfrm>
              <a:off x="230320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5254368" y="1758004"/>
            <a:ext cx="1598523" cy="2005765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9936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83E8883-3086-48B1-8236-60731D417E74}"/>
              </a:ext>
            </a:extLst>
          </p:cNvPr>
          <p:cNvGrpSpPr/>
          <p:nvPr/>
        </p:nvGrpSpPr>
        <p:grpSpPr>
          <a:xfrm>
            <a:off x="7608168" y="1758004"/>
            <a:ext cx="1598523" cy="2005765"/>
            <a:chOff x="6763077" y="1602865"/>
            <a:chExt cx="1598523" cy="2005765"/>
          </a:xfrm>
        </p:grpSpPr>
        <p:sp>
          <p:nvSpPr>
            <p:cNvPr id="136" name="Teardrop 135">
              <a:extLst>
                <a:ext uri="{FF2B5EF4-FFF2-40B4-BE49-F238E27FC236}">
                  <a16:creationId xmlns:a16="http://schemas.microsoft.com/office/drawing/2014/main" id="{500582AA-607B-4C0A-9AA8-B49305A1C27A}"/>
                </a:ext>
              </a:extLst>
            </p:cNvPr>
            <p:cNvSpPr/>
            <p:nvPr/>
          </p:nvSpPr>
          <p:spPr bwMode="gray">
            <a:xfrm rot="8100000">
              <a:off x="6810418" y="1602865"/>
              <a:ext cx="1503841" cy="1503844"/>
            </a:xfrm>
            <a:prstGeom prst="teardrop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Freeform 35">
              <a:extLst>
                <a:ext uri="{FF2B5EF4-FFF2-40B4-BE49-F238E27FC236}">
                  <a16:creationId xmlns:a16="http://schemas.microsoft.com/office/drawing/2014/main" id="{8EEC739B-9B53-49BA-94AC-06DD070756DA}"/>
                </a:ext>
              </a:extLst>
            </p:cNvPr>
            <p:cNvSpPr/>
            <p:nvPr/>
          </p:nvSpPr>
          <p:spPr bwMode="gray">
            <a:xfrm>
              <a:off x="6763077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70972BF-AB98-4CC2-BB60-84903DB5CFE2}"/>
                </a:ext>
              </a:extLst>
            </p:cNvPr>
            <p:cNvSpPr/>
            <p:nvPr/>
          </p:nvSpPr>
          <p:spPr bwMode="gray">
            <a:xfrm>
              <a:off x="7007153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2746340E-86D4-41CA-93A9-4E98D191BE05}"/>
              </a:ext>
            </a:extLst>
          </p:cNvPr>
          <p:cNvGrpSpPr/>
          <p:nvPr/>
        </p:nvGrpSpPr>
        <p:grpSpPr>
          <a:xfrm>
            <a:off x="9840416" y="1758004"/>
            <a:ext cx="1598523" cy="2005765"/>
            <a:chOff x="8355090" y="1602865"/>
            <a:chExt cx="1598523" cy="2005765"/>
          </a:xfrm>
        </p:grpSpPr>
        <p:sp>
          <p:nvSpPr>
            <p:cNvPr id="141" name="Teardrop 140">
              <a:extLst>
                <a:ext uri="{FF2B5EF4-FFF2-40B4-BE49-F238E27FC236}">
                  <a16:creationId xmlns:a16="http://schemas.microsoft.com/office/drawing/2014/main" id="{78FD4A15-BB61-4D87-9E87-382B927FB4C9}"/>
                </a:ext>
              </a:extLst>
            </p:cNvPr>
            <p:cNvSpPr/>
            <p:nvPr/>
          </p:nvSpPr>
          <p:spPr bwMode="gray">
            <a:xfrm rot="8100000">
              <a:off x="8402430" y="1602865"/>
              <a:ext cx="1503841" cy="1503844"/>
            </a:xfrm>
            <a:prstGeom prst="teardrop">
              <a:avLst/>
            </a:pr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2" name="Freeform 39">
              <a:extLst>
                <a:ext uri="{FF2B5EF4-FFF2-40B4-BE49-F238E27FC236}">
                  <a16:creationId xmlns:a16="http://schemas.microsoft.com/office/drawing/2014/main" id="{4BC9A539-3667-4BFE-9E4F-81FA02EFA619}"/>
                </a:ext>
              </a:extLst>
            </p:cNvPr>
            <p:cNvSpPr/>
            <p:nvPr/>
          </p:nvSpPr>
          <p:spPr bwMode="gray">
            <a:xfrm>
              <a:off x="8355090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bg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43" name="Group 925">
              <a:extLst>
                <a:ext uri="{FF2B5EF4-FFF2-40B4-BE49-F238E27FC236}">
                  <a16:creationId xmlns:a16="http://schemas.microsoft.com/office/drawing/2014/main" id="{E0D16D89-D72D-4F33-88DE-F942930111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797164" y="1976762"/>
              <a:ext cx="686450" cy="682877"/>
              <a:chOff x="1224" y="3504"/>
              <a:chExt cx="192" cy="191"/>
            </a:xfrm>
            <a:solidFill>
              <a:schemeClr val="accent1"/>
            </a:solidFill>
          </p:grpSpPr>
          <p:sp>
            <p:nvSpPr>
              <p:cNvPr id="145" name="Freeform 926">
                <a:extLst>
                  <a:ext uri="{FF2B5EF4-FFF2-40B4-BE49-F238E27FC236}">
                    <a16:creationId xmlns:a16="http://schemas.microsoft.com/office/drawing/2014/main" id="{790BD73C-DE12-4489-882E-13024C466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9" y="3539"/>
                <a:ext cx="71" cy="71"/>
              </a:xfrm>
              <a:custGeom>
                <a:avLst/>
                <a:gdLst>
                  <a:gd name="T0" fmla="*/ 96 w 107"/>
                  <a:gd name="T1" fmla="*/ 43 h 107"/>
                  <a:gd name="T2" fmla="*/ 64 w 107"/>
                  <a:gd name="T3" fmla="*/ 43 h 107"/>
                  <a:gd name="T4" fmla="*/ 64 w 107"/>
                  <a:gd name="T5" fmla="*/ 11 h 107"/>
                  <a:gd name="T6" fmla="*/ 53 w 107"/>
                  <a:gd name="T7" fmla="*/ 0 h 107"/>
                  <a:gd name="T8" fmla="*/ 43 w 107"/>
                  <a:gd name="T9" fmla="*/ 11 h 107"/>
                  <a:gd name="T10" fmla="*/ 43 w 107"/>
                  <a:gd name="T11" fmla="*/ 43 h 107"/>
                  <a:gd name="T12" fmla="*/ 11 w 107"/>
                  <a:gd name="T13" fmla="*/ 43 h 107"/>
                  <a:gd name="T14" fmla="*/ 0 w 107"/>
                  <a:gd name="T15" fmla="*/ 53 h 107"/>
                  <a:gd name="T16" fmla="*/ 11 w 107"/>
                  <a:gd name="T17" fmla="*/ 64 h 107"/>
                  <a:gd name="T18" fmla="*/ 43 w 107"/>
                  <a:gd name="T19" fmla="*/ 64 h 107"/>
                  <a:gd name="T20" fmla="*/ 43 w 107"/>
                  <a:gd name="T21" fmla="*/ 96 h 107"/>
                  <a:gd name="T22" fmla="*/ 53 w 107"/>
                  <a:gd name="T23" fmla="*/ 107 h 107"/>
                  <a:gd name="T24" fmla="*/ 64 w 107"/>
                  <a:gd name="T25" fmla="*/ 96 h 107"/>
                  <a:gd name="T26" fmla="*/ 64 w 107"/>
                  <a:gd name="T27" fmla="*/ 64 h 107"/>
                  <a:gd name="T28" fmla="*/ 96 w 107"/>
                  <a:gd name="T29" fmla="*/ 64 h 107"/>
                  <a:gd name="T30" fmla="*/ 107 w 107"/>
                  <a:gd name="T31" fmla="*/ 53 h 107"/>
                  <a:gd name="T32" fmla="*/ 96 w 107"/>
                  <a:gd name="T33" fmla="*/ 4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7" h="107">
                    <a:moveTo>
                      <a:pt x="96" y="43"/>
                    </a:moveTo>
                    <a:cubicBezTo>
                      <a:pt x="64" y="43"/>
                      <a:pt x="64" y="43"/>
                      <a:pt x="64" y="43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4" y="5"/>
                      <a:pt x="59" y="0"/>
                      <a:pt x="53" y="0"/>
                    </a:cubicBezTo>
                    <a:cubicBezTo>
                      <a:pt x="47" y="0"/>
                      <a:pt x="43" y="5"/>
                      <a:pt x="43" y="11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5" y="43"/>
                      <a:pt x="0" y="47"/>
                      <a:pt x="0" y="53"/>
                    </a:cubicBezTo>
                    <a:cubicBezTo>
                      <a:pt x="0" y="59"/>
                      <a:pt x="5" y="64"/>
                      <a:pt x="11" y="64"/>
                    </a:cubicBezTo>
                    <a:cubicBezTo>
                      <a:pt x="43" y="64"/>
                      <a:pt x="43" y="64"/>
                      <a:pt x="43" y="64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3" y="102"/>
                      <a:pt x="47" y="107"/>
                      <a:pt x="53" y="107"/>
                    </a:cubicBezTo>
                    <a:cubicBezTo>
                      <a:pt x="59" y="107"/>
                      <a:pt x="64" y="102"/>
                      <a:pt x="64" y="96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102" y="64"/>
                      <a:pt x="107" y="59"/>
                      <a:pt x="107" y="53"/>
                    </a:cubicBezTo>
                    <a:cubicBezTo>
                      <a:pt x="107" y="47"/>
                      <a:pt x="102" y="43"/>
                      <a:pt x="96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reeform 927">
                <a:extLst>
                  <a:ext uri="{FF2B5EF4-FFF2-40B4-BE49-F238E27FC236}">
                    <a16:creationId xmlns:a16="http://schemas.microsoft.com/office/drawing/2014/main" id="{15FDF464-77C7-4E79-91EF-7F13541D88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4" y="3504"/>
                <a:ext cx="192" cy="191"/>
              </a:xfrm>
              <a:custGeom>
                <a:avLst/>
                <a:gdLst>
                  <a:gd name="T0" fmla="*/ 189 w 289"/>
                  <a:gd name="T1" fmla="*/ 174 h 288"/>
                  <a:gd name="T2" fmla="*/ 213 w 289"/>
                  <a:gd name="T3" fmla="*/ 106 h 288"/>
                  <a:gd name="T4" fmla="*/ 106 w 289"/>
                  <a:gd name="T5" fmla="*/ 0 h 288"/>
                  <a:gd name="T6" fmla="*/ 0 w 289"/>
                  <a:gd name="T7" fmla="*/ 106 h 288"/>
                  <a:gd name="T8" fmla="*/ 106 w 289"/>
                  <a:gd name="T9" fmla="*/ 213 h 288"/>
                  <a:gd name="T10" fmla="*/ 174 w 289"/>
                  <a:gd name="T11" fmla="*/ 189 h 288"/>
                  <a:gd name="T12" fmla="*/ 269 w 289"/>
                  <a:gd name="T13" fmla="*/ 285 h 288"/>
                  <a:gd name="T14" fmla="*/ 277 w 289"/>
                  <a:gd name="T15" fmla="*/ 288 h 288"/>
                  <a:gd name="T16" fmla="*/ 285 w 289"/>
                  <a:gd name="T17" fmla="*/ 285 h 288"/>
                  <a:gd name="T18" fmla="*/ 285 w 289"/>
                  <a:gd name="T19" fmla="*/ 269 h 288"/>
                  <a:gd name="T20" fmla="*/ 189 w 289"/>
                  <a:gd name="T21" fmla="*/ 174 h 288"/>
                  <a:gd name="T22" fmla="*/ 106 w 289"/>
                  <a:gd name="T23" fmla="*/ 192 h 288"/>
                  <a:gd name="T24" fmla="*/ 21 w 289"/>
                  <a:gd name="T25" fmla="*/ 106 h 288"/>
                  <a:gd name="T26" fmla="*/ 106 w 289"/>
                  <a:gd name="T27" fmla="*/ 21 h 288"/>
                  <a:gd name="T28" fmla="*/ 192 w 289"/>
                  <a:gd name="T29" fmla="*/ 106 h 288"/>
                  <a:gd name="T30" fmla="*/ 106 w 289"/>
                  <a:gd name="T31" fmla="*/ 19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9" h="288">
                    <a:moveTo>
                      <a:pt x="189" y="174"/>
                    </a:moveTo>
                    <a:cubicBezTo>
                      <a:pt x="204" y="155"/>
                      <a:pt x="213" y="132"/>
                      <a:pt x="213" y="106"/>
                    </a:cubicBezTo>
                    <a:cubicBezTo>
                      <a:pt x="213" y="48"/>
                      <a:pt x="165" y="0"/>
                      <a:pt x="106" y="0"/>
                    </a:cubicBezTo>
                    <a:cubicBezTo>
                      <a:pt x="48" y="0"/>
                      <a:pt x="0" y="48"/>
                      <a:pt x="0" y="106"/>
                    </a:cubicBezTo>
                    <a:cubicBezTo>
                      <a:pt x="0" y="165"/>
                      <a:pt x="48" y="213"/>
                      <a:pt x="106" y="213"/>
                    </a:cubicBezTo>
                    <a:cubicBezTo>
                      <a:pt x="132" y="213"/>
                      <a:pt x="155" y="204"/>
                      <a:pt x="174" y="189"/>
                    </a:cubicBezTo>
                    <a:cubicBezTo>
                      <a:pt x="269" y="285"/>
                      <a:pt x="269" y="285"/>
                      <a:pt x="269" y="285"/>
                    </a:cubicBezTo>
                    <a:cubicBezTo>
                      <a:pt x="272" y="287"/>
                      <a:pt x="274" y="288"/>
                      <a:pt x="277" y="288"/>
                    </a:cubicBezTo>
                    <a:cubicBezTo>
                      <a:pt x="280" y="288"/>
                      <a:pt x="282" y="287"/>
                      <a:pt x="285" y="285"/>
                    </a:cubicBezTo>
                    <a:cubicBezTo>
                      <a:pt x="289" y="280"/>
                      <a:pt x="289" y="274"/>
                      <a:pt x="285" y="269"/>
                    </a:cubicBezTo>
                    <a:lnTo>
                      <a:pt x="189" y="174"/>
                    </a:lnTo>
                    <a:close/>
                    <a:moveTo>
                      <a:pt x="106" y="192"/>
                    </a:moveTo>
                    <a:cubicBezTo>
                      <a:pt x="59" y="192"/>
                      <a:pt x="21" y="153"/>
                      <a:pt x="21" y="106"/>
                    </a:cubicBezTo>
                    <a:cubicBezTo>
                      <a:pt x="21" y="59"/>
                      <a:pt x="59" y="21"/>
                      <a:pt x="106" y="21"/>
                    </a:cubicBezTo>
                    <a:cubicBezTo>
                      <a:pt x="153" y="21"/>
                      <a:pt x="192" y="59"/>
                      <a:pt x="192" y="106"/>
                    </a:cubicBezTo>
                    <a:cubicBezTo>
                      <a:pt x="192" y="153"/>
                      <a:pt x="153" y="192"/>
                      <a:pt x="10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6="http://schemas.microsoft.com/office/drawing/2014/main" xmlns:p14="http://schemas.microsoft.com/office/powerpoint/2010/main"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A05F4DB7-700C-4A2E-969D-33283C120EC9}"/>
                </a:ext>
              </a:extLst>
            </p:cNvPr>
            <p:cNvSpPr/>
            <p:nvPr/>
          </p:nvSpPr>
          <p:spPr bwMode="gray">
            <a:xfrm>
              <a:off x="8591201" y="1758652"/>
              <a:ext cx="1119070" cy="1119071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3094083" y="1758004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3046743" y="2891861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3286469" y="1913791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A0BB8F2-9CB8-4B26-9351-D5522ADF53AB}"/>
              </a:ext>
            </a:extLst>
          </p:cNvPr>
          <p:cNvSpPr/>
          <p:nvPr/>
        </p:nvSpPr>
        <p:spPr bwMode="gray">
          <a:xfrm>
            <a:off x="0" y="2890478"/>
            <a:ext cx="783964" cy="77889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1AB32D8-1E1F-4805-A285-6CDA13E7FA8B}"/>
              </a:ext>
            </a:extLst>
          </p:cNvPr>
          <p:cNvSpPr/>
          <p:nvPr/>
        </p:nvSpPr>
        <p:spPr bwMode="gray">
          <a:xfrm>
            <a:off x="11359700" y="2890479"/>
            <a:ext cx="843582" cy="77889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574627" y="2890478"/>
            <a:ext cx="747424" cy="77889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B2D7A2E-05BD-40D9-B7DD-7C6514CD2561}"/>
              </a:ext>
            </a:extLst>
          </p:cNvPr>
          <p:cNvSpPr/>
          <p:nvPr/>
        </p:nvSpPr>
        <p:spPr bwMode="gray">
          <a:xfrm>
            <a:off x="6771288" y="2890478"/>
            <a:ext cx="897420" cy="77889"/>
          </a:xfrm>
          <a:prstGeom prst="rect">
            <a:avLst/>
          </a:prstGeom>
          <a:gradFill>
            <a:gsLst>
              <a:gs pos="17000">
                <a:schemeClr val="accent6"/>
              </a:gs>
              <a:gs pos="83000">
                <a:schemeClr val="accent1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2" name="Freeform 845">
            <a:extLst>
              <a:ext uri="{FF2B5EF4-FFF2-40B4-BE49-F238E27FC236}">
                <a16:creationId xmlns:a16="http://schemas.microsoft.com/office/drawing/2014/main" id="{CD51B204-B0AD-40BE-A05C-CD6A094230A6}"/>
              </a:ext>
            </a:extLst>
          </p:cNvPr>
          <p:cNvSpPr>
            <a:spLocks noEditPoints="1"/>
          </p:cNvSpPr>
          <p:nvPr/>
        </p:nvSpPr>
        <p:spPr bwMode="auto">
          <a:xfrm>
            <a:off x="1255730" y="2133697"/>
            <a:ext cx="508224" cy="690663"/>
          </a:xfrm>
          <a:custGeom>
            <a:avLst/>
            <a:gdLst>
              <a:gd name="T0" fmla="*/ 214 w 235"/>
              <a:gd name="T1" fmla="*/ 258 h 320"/>
              <a:gd name="T2" fmla="*/ 214 w 235"/>
              <a:gd name="T3" fmla="*/ 181 h 320"/>
              <a:gd name="T4" fmla="*/ 182 w 235"/>
              <a:gd name="T5" fmla="*/ 149 h 320"/>
              <a:gd name="T6" fmla="*/ 128 w 235"/>
              <a:gd name="T7" fmla="*/ 149 h 320"/>
              <a:gd name="T8" fmla="*/ 128 w 235"/>
              <a:gd name="T9" fmla="*/ 62 h 320"/>
              <a:gd name="T10" fmla="*/ 150 w 235"/>
              <a:gd name="T11" fmla="*/ 32 h 320"/>
              <a:gd name="T12" fmla="*/ 118 w 235"/>
              <a:gd name="T13" fmla="*/ 0 h 320"/>
              <a:gd name="T14" fmla="*/ 86 w 235"/>
              <a:gd name="T15" fmla="*/ 32 h 320"/>
              <a:gd name="T16" fmla="*/ 107 w 235"/>
              <a:gd name="T17" fmla="*/ 62 h 320"/>
              <a:gd name="T18" fmla="*/ 107 w 235"/>
              <a:gd name="T19" fmla="*/ 149 h 320"/>
              <a:gd name="T20" fmla="*/ 54 w 235"/>
              <a:gd name="T21" fmla="*/ 149 h 320"/>
              <a:gd name="T22" fmla="*/ 22 w 235"/>
              <a:gd name="T23" fmla="*/ 181 h 320"/>
              <a:gd name="T24" fmla="*/ 22 w 235"/>
              <a:gd name="T25" fmla="*/ 258 h 320"/>
              <a:gd name="T26" fmla="*/ 0 w 235"/>
              <a:gd name="T27" fmla="*/ 288 h 320"/>
              <a:gd name="T28" fmla="*/ 32 w 235"/>
              <a:gd name="T29" fmla="*/ 320 h 320"/>
              <a:gd name="T30" fmla="*/ 64 w 235"/>
              <a:gd name="T31" fmla="*/ 288 h 320"/>
              <a:gd name="T32" fmla="*/ 43 w 235"/>
              <a:gd name="T33" fmla="*/ 258 h 320"/>
              <a:gd name="T34" fmla="*/ 43 w 235"/>
              <a:gd name="T35" fmla="*/ 181 h 320"/>
              <a:gd name="T36" fmla="*/ 54 w 235"/>
              <a:gd name="T37" fmla="*/ 170 h 320"/>
              <a:gd name="T38" fmla="*/ 107 w 235"/>
              <a:gd name="T39" fmla="*/ 170 h 320"/>
              <a:gd name="T40" fmla="*/ 107 w 235"/>
              <a:gd name="T41" fmla="*/ 258 h 320"/>
              <a:gd name="T42" fmla="*/ 86 w 235"/>
              <a:gd name="T43" fmla="*/ 288 h 320"/>
              <a:gd name="T44" fmla="*/ 118 w 235"/>
              <a:gd name="T45" fmla="*/ 320 h 320"/>
              <a:gd name="T46" fmla="*/ 150 w 235"/>
              <a:gd name="T47" fmla="*/ 288 h 320"/>
              <a:gd name="T48" fmla="*/ 128 w 235"/>
              <a:gd name="T49" fmla="*/ 258 h 320"/>
              <a:gd name="T50" fmla="*/ 128 w 235"/>
              <a:gd name="T51" fmla="*/ 170 h 320"/>
              <a:gd name="T52" fmla="*/ 182 w 235"/>
              <a:gd name="T53" fmla="*/ 170 h 320"/>
              <a:gd name="T54" fmla="*/ 192 w 235"/>
              <a:gd name="T55" fmla="*/ 181 h 320"/>
              <a:gd name="T56" fmla="*/ 192 w 235"/>
              <a:gd name="T57" fmla="*/ 258 h 320"/>
              <a:gd name="T58" fmla="*/ 171 w 235"/>
              <a:gd name="T59" fmla="*/ 288 h 320"/>
              <a:gd name="T60" fmla="*/ 203 w 235"/>
              <a:gd name="T61" fmla="*/ 320 h 320"/>
              <a:gd name="T62" fmla="*/ 235 w 235"/>
              <a:gd name="T63" fmla="*/ 288 h 320"/>
              <a:gd name="T64" fmla="*/ 214 w 235"/>
              <a:gd name="T65" fmla="*/ 258 h 320"/>
              <a:gd name="T66" fmla="*/ 118 w 235"/>
              <a:gd name="T67" fmla="*/ 21 h 320"/>
              <a:gd name="T68" fmla="*/ 128 w 235"/>
              <a:gd name="T69" fmla="*/ 32 h 320"/>
              <a:gd name="T70" fmla="*/ 118 w 235"/>
              <a:gd name="T71" fmla="*/ 42 h 320"/>
              <a:gd name="T72" fmla="*/ 107 w 235"/>
              <a:gd name="T73" fmla="*/ 32 h 320"/>
              <a:gd name="T74" fmla="*/ 118 w 235"/>
              <a:gd name="T75" fmla="*/ 21 h 320"/>
              <a:gd name="T76" fmla="*/ 32 w 235"/>
              <a:gd name="T77" fmla="*/ 298 h 320"/>
              <a:gd name="T78" fmla="*/ 22 w 235"/>
              <a:gd name="T79" fmla="*/ 288 h 320"/>
              <a:gd name="T80" fmla="*/ 32 w 235"/>
              <a:gd name="T81" fmla="*/ 277 h 320"/>
              <a:gd name="T82" fmla="*/ 43 w 235"/>
              <a:gd name="T83" fmla="*/ 288 h 320"/>
              <a:gd name="T84" fmla="*/ 32 w 235"/>
              <a:gd name="T85" fmla="*/ 298 h 320"/>
              <a:gd name="T86" fmla="*/ 118 w 235"/>
              <a:gd name="T87" fmla="*/ 298 h 320"/>
              <a:gd name="T88" fmla="*/ 107 w 235"/>
              <a:gd name="T89" fmla="*/ 288 h 320"/>
              <a:gd name="T90" fmla="*/ 118 w 235"/>
              <a:gd name="T91" fmla="*/ 277 h 320"/>
              <a:gd name="T92" fmla="*/ 128 w 235"/>
              <a:gd name="T93" fmla="*/ 288 h 320"/>
              <a:gd name="T94" fmla="*/ 118 w 235"/>
              <a:gd name="T95" fmla="*/ 298 h 320"/>
              <a:gd name="T96" fmla="*/ 203 w 235"/>
              <a:gd name="T97" fmla="*/ 298 h 320"/>
              <a:gd name="T98" fmla="*/ 192 w 235"/>
              <a:gd name="T99" fmla="*/ 288 h 320"/>
              <a:gd name="T100" fmla="*/ 203 w 235"/>
              <a:gd name="T101" fmla="*/ 277 h 320"/>
              <a:gd name="T102" fmla="*/ 214 w 235"/>
              <a:gd name="T103" fmla="*/ 288 h 320"/>
              <a:gd name="T104" fmla="*/ 203 w 235"/>
              <a:gd name="T105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214" y="258"/>
                </a:moveTo>
                <a:cubicBezTo>
                  <a:pt x="214" y="181"/>
                  <a:pt x="214" y="181"/>
                  <a:pt x="214" y="181"/>
                </a:cubicBezTo>
                <a:cubicBezTo>
                  <a:pt x="214" y="158"/>
                  <a:pt x="195" y="149"/>
                  <a:pt x="182" y="149"/>
                </a:cubicBezTo>
                <a:cubicBezTo>
                  <a:pt x="128" y="149"/>
                  <a:pt x="128" y="149"/>
                  <a:pt x="128" y="149"/>
                </a:cubicBezTo>
                <a:cubicBezTo>
                  <a:pt x="128" y="62"/>
                  <a:pt x="128" y="62"/>
                  <a:pt x="128" y="62"/>
                </a:cubicBezTo>
                <a:cubicBezTo>
                  <a:pt x="141" y="57"/>
                  <a:pt x="150" y="46"/>
                  <a:pt x="150" y="32"/>
                </a:cubicBezTo>
                <a:cubicBezTo>
                  <a:pt x="150" y="14"/>
                  <a:pt x="135" y="0"/>
                  <a:pt x="118" y="0"/>
                </a:cubicBezTo>
                <a:cubicBezTo>
                  <a:pt x="100" y="0"/>
                  <a:pt x="86" y="14"/>
                  <a:pt x="86" y="32"/>
                </a:cubicBezTo>
                <a:cubicBezTo>
                  <a:pt x="86" y="46"/>
                  <a:pt x="95" y="57"/>
                  <a:pt x="107" y="62"/>
                </a:cubicBezTo>
                <a:cubicBezTo>
                  <a:pt x="107" y="149"/>
                  <a:pt x="107" y="149"/>
                  <a:pt x="107" y="149"/>
                </a:cubicBezTo>
                <a:cubicBezTo>
                  <a:pt x="54" y="149"/>
                  <a:pt x="54" y="149"/>
                  <a:pt x="54" y="149"/>
                </a:cubicBezTo>
                <a:cubicBezTo>
                  <a:pt x="31" y="149"/>
                  <a:pt x="22" y="168"/>
                  <a:pt x="22" y="181"/>
                </a:cubicBezTo>
                <a:cubicBezTo>
                  <a:pt x="22" y="258"/>
                  <a:pt x="22" y="258"/>
                  <a:pt x="22" y="258"/>
                </a:cubicBezTo>
                <a:cubicBezTo>
                  <a:pt x="9" y="262"/>
                  <a:pt x="0" y="274"/>
                  <a:pt x="0" y="288"/>
                </a:cubicBezTo>
                <a:cubicBezTo>
                  <a:pt x="0" y="305"/>
                  <a:pt x="15" y="320"/>
                  <a:pt x="32" y="320"/>
                </a:cubicBezTo>
                <a:cubicBezTo>
                  <a:pt x="50" y="320"/>
                  <a:pt x="64" y="305"/>
                  <a:pt x="64" y="288"/>
                </a:cubicBezTo>
                <a:cubicBezTo>
                  <a:pt x="64" y="274"/>
                  <a:pt x="55" y="262"/>
                  <a:pt x="43" y="258"/>
                </a:cubicBezTo>
                <a:cubicBezTo>
                  <a:pt x="43" y="181"/>
                  <a:pt x="43" y="181"/>
                  <a:pt x="43" y="181"/>
                </a:cubicBezTo>
                <a:cubicBezTo>
                  <a:pt x="43" y="179"/>
                  <a:pt x="44" y="170"/>
                  <a:pt x="54" y="170"/>
                </a:cubicBezTo>
                <a:cubicBezTo>
                  <a:pt x="107" y="170"/>
                  <a:pt x="107" y="170"/>
                  <a:pt x="107" y="170"/>
                </a:cubicBezTo>
                <a:cubicBezTo>
                  <a:pt x="107" y="258"/>
                  <a:pt x="107" y="258"/>
                  <a:pt x="107" y="258"/>
                </a:cubicBezTo>
                <a:cubicBezTo>
                  <a:pt x="95" y="262"/>
                  <a:pt x="86" y="274"/>
                  <a:pt x="86" y="288"/>
                </a:cubicBezTo>
                <a:cubicBezTo>
                  <a:pt x="86" y="305"/>
                  <a:pt x="100" y="320"/>
                  <a:pt x="118" y="320"/>
                </a:cubicBezTo>
                <a:cubicBezTo>
                  <a:pt x="135" y="320"/>
                  <a:pt x="150" y="305"/>
                  <a:pt x="150" y="288"/>
                </a:cubicBezTo>
                <a:cubicBezTo>
                  <a:pt x="150" y="274"/>
                  <a:pt x="141" y="262"/>
                  <a:pt x="128" y="258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82" y="170"/>
                  <a:pt x="182" y="170"/>
                  <a:pt x="182" y="170"/>
                </a:cubicBezTo>
                <a:cubicBezTo>
                  <a:pt x="186" y="170"/>
                  <a:pt x="192" y="172"/>
                  <a:pt x="192" y="181"/>
                </a:cubicBezTo>
                <a:cubicBezTo>
                  <a:pt x="192" y="258"/>
                  <a:pt x="192" y="258"/>
                  <a:pt x="192" y="258"/>
                </a:cubicBezTo>
                <a:cubicBezTo>
                  <a:pt x="180" y="262"/>
                  <a:pt x="171" y="274"/>
                  <a:pt x="171" y="288"/>
                </a:cubicBezTo>
                <a:cubicBezTo>
                  <a:pt x="171" y="305"/>
                  <a:pt x="185" y="320"/>
                  <a:pt x="203" y="320"/>
                </a:cubicBezTo>
                <a:cubicBezTo>
                  <a:pt x="221" y="320"/>
                  <a:pt x="235" y="305"/>
                  <a:pt x="235" y="288"/>
                </a:cubicBezTo>
                <a:cubicBezTo>
                  <a:pt x="235" y="274"/>
                  <a:pt x="226" y="262"/>
                  <a:pt x="214" y="258"/>
                </a:cubicBezTo>
                <a:close/>
                <a:moveTo>
                  <a:pt x="118" y="21"/>
                </a:moveTo>
                <a:cubicBezTo>
                  <a:pt x="124" y="21"/>
                  <a:pt x="128" y="26"/>
                  <a:pt x="128" y="32"/>
                </a:cubicBezTo>
                <a:cubicBezTo>
                  <a:pt x="128" y="38"/>
                  <a:pt x="124" y="42"/>
                  <a:pt x="118" y="42"/>
                </a:cubicBezTo>
                <a:cubicBezTo>
                  <a:pt x="112" y="42"/>
                  <a:pt x="107" y="38"/>
                  <a:pt x="107" y="32"/>
                </a:cubicBezTo>
                <a:cubicBezTo>
                  <a:pt x="107" y="26"/>
                  <a:pt x="112" y="21"/>
                  <a:pt x="118" y="21"/>
                </a:cubicBezTo>
                <a:close/>
                <a:moveTo>
                  <a:pt x="32" y="298"/>
                </a:moveTo>
                <a:cubicBezTo>
                  <a:pt x="26" y="298"/>
                  <a:pt x="22" y="294"/>
                  <a:pt x="22" y="288"/>
                </a:cubicBezTo>
                <a:cubicBezTo>
                  <a:pt x="22" y="282"/>
                  <a:pt x="26" y="277"/>
                  <a:pt x="32" y="277"/>
                </a:cubicBezTo>
                <a:cubicBezTo>
                  <a:pt x="38" y="277"/>
                  <a:pt x="43" y="282"/>
                  <a:pt x="43" y="288"/>
                </a:cubicBezTo>
                <a:cubicBezTo>
                  <a:pt x="43" y="294"/>
                  <a:pt x="38" y="298"/>
                  <a:pt x="32" y="298"/>
                </a:cubicBezTo>
                <a:close/>
                <a:moveTo>
                  <a:pt x="118" y="298"/>
                </a:moveTo>
                <a:cubicBezTo>
                  <a:pt x="112" y="298"/>
                  <a:pt x="107" y="294"/>
                  <a:pt x="107" y="288"/>
                </a:cubicBezTo>
                <a:cubicBezTo>
                  <a:pt x="107" y="282"/>
                  <a:pt x="112" y="277"/>
                  <a:pt x="118" y="277"/>
                </a:cubicBezTo>
                <a:cubicBezTo>
                  <a:pt x="124" y="277"/>
                  <a:pt x="128" y="282"/>
                  <a:pt x="128" y="288"/>
                </a:cubicBezTo>
                <a:cubicBezTo>
                  <a:pt x="128" y="294"/>
                  <a:pt x="124" y="298"/>
                  <a:pt x="118" y="298"/>
                </a:cubicBezTo>
                <a:close/>
                <a:moveTo>
                  <a:pt x="203" y="298"/>
                </a:moveTo>
                <a:cubicBezTo>
                  <a:pt x="197" y="298"/>
                  <a:pt x="192" y="294"/>
                  <a:pt x="192" y="288"/>
                </a:cubicBezTo>
                <a:cubicBezTo>
                  <a:pt x="192" y="282"/>
                  <a:pt x="197" y="277"/>
                  <a:pt x="203" y="277"/>
                </a:cubicBezTo>
                <a:cubicBezTo>
                  <a:pt x="209" y="277"/>
                  <a:pt x="214" y="282"/>
                  <a:pt x="214" y="288"/>
                </a:cubicBezTo>
                <a:cubicBezTo>
                  <a:pt x="214" y="294"/>
                  <a:pt x="209" y="298"/>
                  <a:pt x="203" y="29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Freeform 872">
            <a:extLst>
              <a:ext uri="{FF2B5EF4-FFF2-40B4-BE49-F238E27FC236}">
                <a16:creationId xmlns:a16="http://schemas.microsoft.com/office/drawing/2014/main" id="{3A5E8132-90F6-4363-8253-88158E2CBC05}"/>
              </a:ext>
            </a:extLst>
          </p:cNvPr>
          <p:cNvSpPr>
            <a:spLocks noEditPoints="1"/>
          </p:cNvSpPr>
          <p:nvPr/>
        </p:nvSpPr>
        <p:spPr bwMode="auto">
          <a:xfrm>
            <a:off x="10332502" y="2140641"/>
            <a:ext cx="603838" cy="676035"/>
          </a:xfrm>
          <a:custGeom>
            <a:avLst/>
            <a:gdLst>
              <a:gd name="T0" fmla="*/ 267 w 277"/>
              <a:gd name="T1" fmla="*/ 11 h 310"/>
              <a:gd name="T2" fmla="*/ 149 w 277"/>
              <a:gd name="T3" fmla="*/ 11 h 310"/>
              <a:gd name="T4" fmla="*/ 139 w 277"/>
              <a:gd name="T5" fmla="*/ 0 h 310"/>
              <a:gd name="T6" fmla="*/ 128 w 277"/>
              <a:gd name="T7" fmla="*/ 11 h 310"/>
              <a:gd name="T8" fmla="*/ 11 w 277"/>
              <a:gd name="T9" fmla="*/ 11 h 310"/>
              <a:gd name="T10" fmla="*/ 0 w 277"/>
              <a:gd name="T11" fmla="*/ 22 h 310"/>
              <a:gd name="T12" fmla="*/ 0 w 277"/>
              <a:gd name="T13" fmla="*/ 214 h 310"/>
              <a:gd name="T14" fmla="*/ 11 w 277"/>
              <a:gd name="T15" fmla="*/ 224 h 310"/>
              <a:gd name="T16" fmla="*/ 81 w 277"/>
              <a:gd name="T17" fmla="*/ 224 h 310"/>
              <a:gd name="T18" fmla="*/ 54 w 277"/>
              <a:gd name="T19" fmla="*/ 295 h 310"/>
              <a:gd name="T20" fmla="*/ 60 w 277"/>
              <a:gd name="T21" fmla="*/ 309 h 310"/>
              <a:gd name="T22" fmla="*/ 64 w 277"/>
              <a:gd name="T23" fmla="*/ 310 h 310"/>
              <a:gd name="T24" fmla="*/ 74 w 277"/>
              <a:gd name="T25" fmla="*/ 303 h 310"/>
              <a:gd name="T26" fmla="*/ 103 w 277"/>
              <a:gd name="T27" fmla="*/ 224 h 310"/>
              <a:gd name="T28" fmla="*/ 128 w 277"/>
              <a:gd name="T29" fmla="*/ 224 h 310"/>
              <a:gd name="T30" fmla="*/ 128 w 277"/>
              <a:gd name="T31" fmla="*/ 267 h 310"/>
              <a:gd name="T32" fmla="*/ 139 w 277"/>
              <a:gd name="T33" fmla="*/ 278 h 310"/>
              <a:gd name="T34" fmla="*/ 149 w 277"/>
              <a:gd name="T35" fmla="*/ 267 h 310"/>
              <a:gd name="T36" fmla="*/ 149 w 277"/>
              <a:gd name="T37" fmla="*/ 224 h 310"/>
              <a:gd name="T38" fmla="*/ 174 w 277"/>
              <a:gd name="T39" fmla="*/ 224 h 310"/>
              <a:gd name="T40" fmla="*/ 203 w 277"/>
              <a:gd name="T41" fmla="*/ 303 h 310"/>
              <a:gd name="T42" fmla="*/ 213 w 277"/>
              <a:gd name="T43" fmla="*/ 310 h 310"/>
              <a:gd name="T44" fmla="*/ 217 w 277"/>
              <a:gd name="T45" fmla="*/ 309 h 310"/>
              <a:gd name="T46" fmla="*/ 223 w 277"/>
              <a:gd name="T47" fmla="*/ 295 h 310"/>
              <a:gd name="T48" fmla="*/ 197 w 277"/>
              <a:gd name="T49" fmla="*/ 224 h 310"/>
              <a:gd name="T50" fmla="*/ 267 w 277"/>
              <a:gd name="T51" fmla="*/ 224 h 310"/>
              <a:gd name="T52" fmla="*/ 277 w 277"/>
              <a:gd name="T53" fmla="*/ 214 h 310"/>
              <a:gd name="T54" fmla="*/ 277 w 277"/>
              <a:gd name="T55" fmla="*/ 22 h 310"/>
              <a:gd name="T56" fmla="*/ 267 w 277"/>
              <a:gd name="T57" fmla="*/ 11 h 310"/>
              <a:gd name="T58" fmla="*/ 256 w 277"/>
              <a:gd name="T59" fmla="*/ 203 h 310"/>
              <a:gd name="T60" fmla="*/ 21 w 277"/>
              <a:gd name="T61" fmla="*/ 203 h 310"/>
              <a:gd name="T62" fmla="*/ 21 w 277"/>
              <a:gd name="T63" fmla="*/ 32 h 310"/>
              <a:gd name="T64" fmla="*/ 256 w 277"/>
              <a:gd name="T65" fmla="*/ 32 h 310"/>
              <a:gd name="T66" fmla="*/ 256 w 277"/>
              <a:gd name="T67" fmla="*/ 20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7" h="310">
                <a:moveTo>
                  <a:pt x="267" y="11"/>
                </a:moveTo>
                <a:cubicBezTo>
                  <a:pt x="149" y="11"/>
                  <a:pt x="149" y="11"/>
                  <a:pt x="149" y="11"/>
                </a:cubicBezTo>
                <a:cubicBezTo>
                  <a:pt x="149" y="5"/>
                  <a:pt x="145" y="0"/>
                  <a:pt x="139" y="0"/>
                </a:cubicBezTo>
                <a:cubicBezTo>
                  <a:pt x="133" y="0"/>
                  <a:pt x="128" y="5"/>
                  <a:pt x="128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5" y="11"/>
                  <a:pt x="0" y="16"/>
                  <a:pt x="0" y="2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20"/>
                  <a:pt x="5" y="224"/>
                  <a:pt x="11" y="224"/>
                </a:cubicBezTo>
                <a:cubicBezTo>
                  <a:pt x="81" y="224"/>
                  <a:pt x="81" y="224"/>
                  <a:pt x="81" y="224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52" y="301"/>
                  <a:pt x="55" y="307"/>
                  <a:pt x="60" y="309"/>
                </a:cubicBezTo>
                <a:cubicBezTo>
                  <a:pt x="61" y="309"/>
                  <a:pt x="63" y="310"/>
                  <a:pt x="64" y="310"/>
                </a:cubicBezTo>
                <a:cubicBezTo>
                  <a:pt x="68" y="310"/>
                  <a:pt x="72" y="307"/>
                  <a:pt x="74" y="303"/>
                </a:cubicBezTo>
                <a:cubicBezTo>
                  <a:pt x="103" y="224"/>
                  <a:pt x="103" y="224"/>
                  <a:pt x="103" y="22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8" y="267"/>
                  <a:pt x="128" y="267"/>
                  <a:pt x="128" y="267"/>
                </a:cubicBezTo>
                <a:cubicBezTo>
                  <a:pt x="128" y="273"/>
                  <a:pt x="133" y="278"/>
                  <a:pt x="139" y="278"/>
                </a:cubicBezTo>
                <a:cubicBezTo>
                  <a:pt x="145" y="278"/>
                  <a:pt x="149" y="273"/>
                  <a:pt x="149" y="267"/>
                </a:cubicBezTo>
                <a:cubicBezTo>
                  <a:pt x="149" y="224"/>
                  <a:pt x="149" y="224"/>
                  <a:pt x="149" y="224"/>
                </a:cubicBezTo>
                <a:cubicBezTo>
                  <a:pt x="174" y="224"/>
                  <a:pt x="174" y="224"/>
                  <a:pt x="174" y="224"/>
                </a:cubicBezTo>
                <a:cubicBezTo>
                  <a:pt x="203" y="303"/>
                  <a:pt x="203" y="303"/>
                  <a:pt x="203" y="303"/>
                </a:cubicBezTo>
                <a:cubicBezTo>
                  <a:pt x="205" y="307"/>
                  <a:pt x="209" y="310"/>
                  <a:pt x="213" y="310"/>
                </a:cubicBezTo>
                <a:cubicBezTo>
                  <a:pt x="215" y="310"/>
                  <a:pt x="216" y="309"/>
                  <a:pt x="217" y="309"/>
                </a:cubicBezTo>
                <a:cubicBezTo>
                  <a:pt x="223" y="307"/>
                  <a:pt x="225" y="301"/>
                  <a:pt x="223" y="295"/>
                </a:cubicBezTo>
                <a:cubicBezTo>
                  <a:pt x="197" y="224"/>
                  <a:pt x="197" y="224"/>
                  <a:pt x="197" y="224"/>
                </a:cubicBezTo>
                <a:cubicBezTo>
                  <a:pt x="267" y="224"/>
                  <a:pt x="267" y="224"/>
                  <a:pt x="267" y="224"/>
                </a:cubicBezTo>
                <a:cubicBezTo>
                  <a:pt x="273" y="224"/>
                  <a:pt x="277" y="220"/>
                  <a:pt x="277" y="214"/>
                </a:cubicBezTo>
                <a:cubicBezTo>
                  <a:pt x="277" y="22"/>
                  <a:pt x="277" y="22"/>
                  <a:pt x="277" y="22"/>
                </a:cubicBezTo>
                <a:cubicBezTo>
                  <a:pt x="277" y="16"/>
                  <a:pt x="273" y="11"/>
                  <a:pt x="267" y="11"/>
                </a:cubicBezTo>
                <a:close/>
                <a:moveTo>
                  <a:pt x="256" y="203"/>
                </a:moveTo>
                <a:cubicBezTo>
                  <a:pt x="21" y="203"/>
                  <a:pt x="21" y="203"/>
                  <a:pt x="21" y="203"/>
                </a:cubicBezTo>
                <a:cubicBezTo>
                  <a:pt x="21" y="32"/>
                  <a:pt x="21" y="32"/>
                  <a:pt x="21" y="32"/>
                </a:cubicBezTo>
                <a:cubicBezTo>
                  <a:pt x="256" y="32"/>
                  <a:pt x="256" y="32"/>
                  <a:pt x="256" y="32"/>
                </a:cubicBezTo>
                <a:lnTo>
                  <a:pt x="256" y="2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3630003" y="2198044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31" name="Grafik 30" descr="Laptop mit einfarbiger Füllung">
            <a:extLst>
              <a:ext uri="{FF2B5EF4-FFF2-40B4-BE49-F238E27FC236}">
                <a16:creationId xmlns:a16="http://schemas.microsoft.com/office/drawing/2014/main" id="{3FA0AC13-13C5-6FCB-31B2-3950FCFD1F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9844" y="2174165"/>
            <a:ext cx="673429" cy="673429"/>
          </a:xfrm>
          <a:prstGeom prst="rect">
            <a:avLst/>
          </a:prstGeom>
        </p:spPr>
      </p:pic>
      <p:pic>
        <p:nvPicPr>
          <p:cNvPr id="35" name="Grafik 34" descr="Ambition mit einfarbiger Füllung">
            <a:extLst>
              <a:ext uri="{FF2B5EF4-FFF2-40B4-BE49-F238E27FC236}">
                <a16:creationId xmlns:a16="http://schemas.microsoft.com/office/drawing/2014/main" id="{E87C7918-A294-2869-E3F9-51BBA25F4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73050" y="2072044"/>
            <a:ext cx="792000" cy="792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147251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14="http://schemas.microsoft.com/office/powerpoint/2010/main" xmlns:a16="http://schemas.microsoft.com/office/drawing/2014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9" name="Hexagon 60">
            <a:extLst>
              <a:ext uri="{FF2B5EF4-FFF2-40B4-BE49-F238E27FC236}">
                <a16:creationId xmlns:a16="http://schemas.microsoft.com/office/drawing/2014/main" id="{24AA19EE-F311-8969-97B3-81D46694810D}"/>
              </a:ext>
            </a:extLst>
          </p:cNvPr>
          <p:cNvSpPr/>
          <p:nvPr/>
        </p:nvSpPr>
        <p:spPr bwMode="gray">
          <a:xfrm>
            <a:off x="5958995" y="2199022"/>
            <a:ext cx="2133285" cy="1839039"/>
          </a:xfrm>
          <a:prstGeom prst="hexagon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Pentagon 13">
            <a:extLst>
              <a:ext uri="{FF2B5EF4-FFF2-40B4-BE49-F238E27FC236}">
                <a16:creationId xmlns:a16="http://schemas.microsoft.com/office/drawing/2014/main" id="{6211F645-C122-CC8B-3E3A-D995129D8B6D}"/>
              </a:ext>
            </a:extLst>
          </p:cNvPr>
          <p:cNvSpPr/>
          <p:nvPr/>
        </p:nvSpPr>
        <p:spPr bwMode="gray">
          <a:xfrm flipH="1">
            <a:off x="6266991" y="2479721"/>
            <a:ext cx="526082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Rectangle 64">
            <a:extLst>
              <a:ext uri="{FF2B5EF4-FFF2-40B4-BE49-F238E27FC236}">
                <a16:creationId xmlns:a16="http://schemas.microsoft.com/office/drawing/2014/main" id="{8FBC690C-FE8E-4EAB-34D8-6A44A3B72C60}"/>
              </a:ext>
            </a:extLst>
          </p:cNvPr>
          <p:cNvSpPr/>
          <p:nvPr/>
        </p:nvSpPr>
        <p:spPr>
          <a:xfrm>
            <a:off x="7951157" y="2632444"/>
            <a:ext cx="1668149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Shepheard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ea typeface="+mn-ea"/>
                <a:cs typeface="+mn-cs"/>
              </a:rPr>
              <a:t> / Dog</a:t>
            </a:r>
          </a:p>
        </p:txBody>
      </p:sp>
      <p:sp>
        <p:nvSpPr>
          <p:cNvPr id="84" name="Rectangle 65">
            <a:extLst>
              <a:ext uri="{FF2B5EF4-FFF2-40B4-BE49-F238E27FC236}">
                <a16:creationId xmlns:a16="http://schemas.microsoft.com/office/drawing/2014/main" id="{0D6392DE-49B7-1447-3703-CC33D3C6404C}"/>
              </a:ext>
            </a:extLst>
          </p:cNvPr>
          <p:cNvSpPr/>
          <p:nvPr/>
        </p:nvSpPr>
        <p:spPr>
          <a:xfrm>
            <a:off x="7951157" y="2925306"/>
            <a:ext cx="29518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Movement </a:t>
            </a:r>
            <a:r>
              <a:rPr lang="de-DE" sz="1400" dirty="0" err="1">
                <a:solidFill>
                  <a:prstClr val="black"/>
                </a:solidFill>
              </a:rPr>
              <a:t>based</a:t>
            </a:r>
            <a:r>
              <a:rPr lang="de-DE" sz="1400" dirty="0">
                <a:solidFill>
                  <a:prstClr val="black"/>
                </a:solidFill>
              </a:rPr>
              <a:t> on </a:t>
            </a:r>
            <a:r>
              <a:rPr lang="de-DE" sz="1400" dirty="0" err="1">
                <a:solidFill>
                  <a:prstClr val="black"/>
                </a:solidFill>
              </a:rPr>
              <a:t>objective</a:t>
            </a:r>
            <a:r>
              <a:rPr lang="de-DE" sz="1400" dirty="0">
                <a:solidFill>
                  <a:prstClr val="black"/>
                </a:solidFill>
              </a:rPr>
              <a:t> </a:t>
            </a:r>
            <a:r>
              <a:rPr lang="de-DE" sz="1400" dirty="0" err="1">
                <a:solidFill>
                  <a:prstClr val="black"/>
                </a:solidFill>
              </a:rPr>
              <a:t>Function</a:t>
            </a:r>
            <a:endParaRPr lang="de-DE" sz="1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itial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ly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hepheard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Hexagon 74">
            <a:extLst>
              <a:ext uri="{FF2B5EF4-FFF2-40B4-BE49-F238E27FC236}">
                <a16:creationId xmlns:a16="http://schemas.microsoft.com/office/drawing/2014/main" id="{E2F8176D-B747-452F-D065-45513620ED20}"/>
              </a:ext>
            </a:extLst>
          </p:cNvPr>
          <p:cNvSpPr/>
          <p:nvPr/>
        </p:nvSpPr>
        <p:spPr bwMode="gray">
          <a:xfrm>
            <a:off x="4029738" y="3325424"/>
            <a:ext cx="2133285" cy="1839039"/>
          </a:xfrm>
          <a:prstGeom prst="hexagon">
            <a:avLst/>
          </a:prstGeom>
          <a:solidFill>
            <a:srgbClr val="0D839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Pentagon 34">
            <a:extLst>
              <a:ext uri="{FF2B5EF4-FFF2-40B4-BE49-F238E27FC236}">
                <a16:creationId xmlns:a16="http://schemas.microsoft.com/office/drawing/2014/main" id="{2E13B419-D8EF-AEF4-BB3F-FCF8F77E0956}"/>
              </a:ext>
            </a:extLst>
          </p:cNvPr>
          <p:cNvSpPr/>
          <p:nvPr/>
        </p:nvSpPr>
        <p:spPr bwMode="gray">
          <a:xfrm>
            <a:off x="597673" y="3606124"/>
            <a:ext cx="5257354" cy="1277639"/>
          </a:xfrm>
          <a:prstGeom prst="homePlate">
            <a:avLst>
              <a:gd name="adj" fmla="val 29778"/>
            </a:avLst>
          </a:prstGeom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3699505"/>
            <a:ext cx="219682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 err="1">
                <a:solidFill>
                  <a:srgbClr val="0D8390"/>
                </a:solidFill>
              </a:rPr>
              <a:t>Agents</a:t>
            </a:r>
            <a:r>
              <a:rPr lang="de-DE" sz="1600" b="1" dirty="0">
                <a:solidFill>
                  <a:srgbClr val="0D8390"/>
                </a:solidFill>
              </a:rPr>
              <a:t> / </a:t>
            </a:r>
            <a:r>
              <a:rPr lang="de-DE" sz="1600" b="1" dirty="0" err="1">
                <a:solidFill>
                  <a:srgbClr val="0D8390"/>
                </a:solidFill>
              </a:rPr>
              <a:t>Sheeps</a:t>
            </a:r>
            <a:r>
              <a:rPr lang="de-DE" sz="1600" b="1" dirty="0">
                <a:solidFill>
                  <a:srgbClr val="0D8390"/>
                </a:solidFill>
              </a:rPr>
              <a:t> / Herd 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ectangle 79">
            <a:extLst>
              <a:ext uri="{FF2B5EF4-FFF2-40B4-BE49-F238E27FC236}">
                <a16:creationId xmlns:a16="http://schemas.microsoft.com/office/drawing/2014/main" id="{B5652194-27C9-1428-3825-7C33B4BFD22D}"/>
              </a:ext>
            </a:extLst>
          </p:cNvPr>
          <p:cNvSpPr/>
          <p:nvPr/>
        </p:nvSpPr>
        <p:spPr>
          <a:xfrm>
            <a:off x="881443" y="3977552"/>
            <a:ext cx="295180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 err="1"/>
              <a:t>Consist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N </a:t>
            </a:r>
            <a:r>
              <a:rPr lang="de-DE" sz="1400" dirty="0" err="1"/>
              <a:t>Agents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Move in a </a:t>
            </a:r>
            <a:r>
              <a:rPr lang="de-DE" sz="1400" dirty="0" err="1"/>
              <a:t>two</a:t>
            </a:r>
            <a:r>
              <a:rPr lang="de-DE" sz="1400" dirty="0"/>
              <a:t> dimensional </a:t>
            </a:r>
            <a:r>
              <a:rPr lang="de-DE" sz="1400" dirty="0" err="1"/>
              <a:t>field</a:t>
            </a:r>
            <a:endParaRPr lang="de-DE" sz="140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/>
              <a:t>Movement </a:t>
            </a:r>
            <a:r>
              <a:rPr lang="de-DE" sz="1400" dirty="0" err="1"/>
              <a:t>based</a:t>
            </a:r>
            <a:r>
              <a:rPr lang="de-DE" sz="1400" dirty="0"/>
              <a:t> on Reynolds’ </a:t>
            </a:r>
            <a:r>
              <a:rPr lang="de-DE" sz="1400" dirty="0" err="1"/>
              <a:t>boids</a:t>
            </a:r>
            <a:r>
              <a:rPr lang="de-DE" sz="1400" dirty="0"/>
              <a:t> </a:t>
            </a:r>
            <a:r>
              <a:rPr lang="de-DE" sz="1400" dirty="0" err="1"/>
              <a:t>model</a:t>
            </a: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9B3CFD9B-7095-43F8-4FE5-2D6DBF676374}"/>
              </a:ext>
            </a:extLst>
          </p:cNvPr>
          <p:cNvSpPr/>
          <p:nvPr/>
        </p:nvSpPr>
        <p:spPr>
          <a:xfrm>
            <a:off x="6607066" y="2861365"/>
            <a:ext cx="837670" cy="514970"/>
          </a:xfrm>
          <a:custGeom>
            <a:avLst/>
            <a:gdLst>
              <a:gd name="connsiteX0" fmla="*/ 778616 w 837670"/>
              <a:gd name="connsiteY0" fmla="*/ 59055 h 514970"/>
              <a:gd name="connsiteX1" fmla="*/ 704321 w 837670"/>
              <a:gd name="connsiteY1" fmla="*/ 0 h 514970"/>
              <a:gd name="connsiteX2" fmla="*/ 651933 w 837670"/>
              <a:gd name="connsiteY2" fmla="*/ 0 h 514970"/>
              <a:gd name="connsiteX3" fmla="*/ 641456 w 837670"/>
              <a:gd name="connsiteY3" fmla="*/ 60960 h 514970"/>
              <a:gd name="connsiteX4" fmla="*/ 643361 w 837670"/>
              <a:gd name="connsiteY4" fmla="*/ 79057 h 514970"/>
              <a:gd name="connsiteX5" fmla="*/ 664316 w 837670"/>
              <a:gd name="connsiteY5" fmla="*/ 95250 h 514970"/>
              <a:gd name="connsiteX6" fmla="*/ 690033 w 837670"/>
              <a:gd name="connsiteY6" fmla="*/ 86678 h 514970"/>
              <a:gd name="connsiteX7" fmla="*/ 697653 w 837670"/>
              <a:gd name="connsiteY7" fmla="*/ 70485 h 514970"/>
              <a:gd name="connsiteX8" fmla="*/ 704321 w 837670"/>
              <a:gd name="connsiteY8" fmla="*/ 34290 h 514970"/>
              <a:gd name="connsiteX9" fmla="*/ 715751 w 837670"/>
              <a:gd name="connsiteY9" fmla="*/ 26670 h 514970"/>
              <a:gd name="connsiteX10" fmla="*/ 723371 w 837670"/>
              <a:gd name="connsiteY10" fmla="*/ 38100 h 514970"/>
              <a:gd name="connsiteX11" fmla="*/ 717656 w 837670"/>
              <a:gd name="connsiteY11" fmla="*/ 73343 h 514970"/>
              <a:gd name="connsiteX12" fmla="*/ 696701 w 837670"/>
              <a:gd name="connsiteY12" fmla="*/ 106680 h 514970"/>
              <a:gd name="connsiteX13" fmla="*/ 670031 w 837670"/>
              <a:gd name="connsiteY13" fmla="*/ 114300 h 514970"/>
              <a:gd name="connsiteX14" fmla="*/ 661458 w 837670"/>
              <a:gd name="connsiteY14" fmla="*/ 113348 h 514970"/>
              <a:gd name="connsiteX15" fmla="*/ 628121 w 837670"/>
              <a:gd name="connsiteY15" fmla="*/ 90488 h 514970"/>
              <a:gd name="connsiteX16" fmla="*/ 622406 w 837670"/>
              <a:gd name="connsiteY16" fmla="*/ 57150 h 514970"/>
              <a:gd name="connsiteX17" fmla="*/ 630978 w 837670"/>
              <a:gd name="connsiteY17" fmla="*/ 6668 h 514970"/>
              <a:gd name="connsiteX18" fmla="*/ 564303 w 837670"/>
              <a:gd name="connsiteY18" fmla="*/ 80010 h 514970"/>
              <a:gd name="connsiteX19" fmla="*/ 509058 w 837670"/>
              <a:gd name="connsiteY19" fmla="*/ 104775 h 514970"/>
              <a:gd name="connsiteX20" fmla="*/ 237596 w 837670"/>
              <a:gd name="connsiteY20" fmla="*/ 104775 h 514970"/>
              <a:gd name="connsiteX21" fmla="*/ 172826 w 837670"/>
              <a:gd name="connsiteY21" fmla="*/ 130493 h 514970"/>
              <a:gd name="connsiteX22" fmla="*/ 53763 w 837670"/>
              <a:gd name="connsiteY22" fmla="*/ 53340 h 514970"/>
              <a:gd name="connsiteX23" fmla="*/ 15663 w 837670"/>
              <a:gd name="connsiteY23" fmla="*/ 40957 h 514970"/>
              <a:gd name="connsiteX24" fmla="*/ 4233 w 837670"/>
              <a:gd name="connsiteY24" fmla="*/ 80963 h 514970"/>
              <a:gd name="connsiteX25" fmla="*/ 145203 w 837670"/>
              <a:gd name="connsiteY25" fmla="*/ 182880 h 514970"/>
              <a:gd name="connsiteX26" fmla="*/ 142346 w 837670"/>
              <a:gd name="connsiteY26" fmla="*/ 200025 h 514970"/>
              <a:gd name="connsiteX27" fmla="*/ 142346 w 837670"/>
              <a:gd name="connsiteY27" fmla="*/ 484823 h 514970"/>
              <a:gd name="connsiteX28" fmla="*/ 165206 w 837670"/>
              <a:gd name="connsiteY28" fmla="*/ 514350 h 514970"/>
              <a:gd name="connsiteX29" fmla="*/ 199496 w 837670"/>
              <a:gd name="connsiteY29" fmla="*/ 486728 h 514970"/>
              <a:gd name="connsiteX30" fmla="*/ 199496 w 837670"/>
              <a:gd name="connsiteY30" fmla="*/ 304800 h 514970"/>
              <a:gd name="connsiteX31" fmla="*/ 329036 w 837670"/>
              <a:gd name="connsiteY31" fmla="*/ 304800 h 514970"/>
              <a:gd name="connsiteX32" fmla="*/ 428096 w 837670"/>
              <a:gd name="connsiteY32" fmla="*/ 333375 h 514970"/>
              <a:gd name="connsiteX33" fmla="*/ 466196 w 837670"/>
              <a:gd name="connsiteY33" fmla="*/ 333375 h 514970"/>
              <a:gd name="connsiteX34" fmla="*/ 466196 w 837670"/>
              <a:gd name="connsiteY34" fmla="*/ 483870 h 514970"/>
              <a:gd name="connsiteX35" fmla="*/ 492866 w 837670"/>
              <a:gd name="connsiteY35" fmla="*/ 514350 h 514970"/>
              <a:gd name="connsiteX36" fmla="*/ 523346 w 837670"/>
              <a:gd name="connsiteY36" fmla="*/ 485775 h 514970"/>
              <a:gd name="connsiteX37" fmla="*/ 523346 w 837670"/>
              <a:gd name="connsiteY37" fmla="*/ 333375 h 514970"/>
              <a:gd name="connsiteX38" fmla="*/ 561446 w 837670"/>
              <a:gd name="connsiteY38" fmla="*/ 333375 h 514970"/>
              <a:gd name="connsiteX39" fmla="*/ 561446 w 837670"/>
              <a:gd name="connsiteY39" fmla="*/ 484823 h 514970"/>
              <a:gd name="connsiteX40" fmla="*/ 584306 w 837670"/>
              <a:gd name="connsiteY40" fmla="*/ 514350 h 514970"/>
              <a:gd name="connsiteX41" fmla="*/ 618596 w 837670"/>
              <a:gd name="connsiteY41" fmla="*/ 486728 h 514970"/>
              <a:gd name="connsiteX42" fmla="*/ 618596 w 837670"/>
              <a:gd name="connsiteY42" fmla="*/ 309563 h 514970"/>
              <a:gd name="connsiteX43" fmla="*/ 656696 w 837670"/>
              <a:gd name="connsiteY43" fmla="*/ 238125 h 514970"/>
              <a:gd name="connsiteX44" fmla="*/ 694796 w 837670"/>
              <a:gd name="connsiteY44" fmla="*/ 142875 h 514970"/>
              <a:gd name="connsiteX45" fmla="*/ 780521 w 837670"/>
              <a:gd name="connsiteY45" fmla="*/ 142875 h 514970"/>
              <a:gd name="connsiteX46" fmla="*/ 837671 w 837670"/>
              <a:gd name="connsiteY46" fmla="*/ 85725 h 514970"/>
              <a:gd name="connsiteX47" fmla="*/ 778616 w 837670"/>
              <a:gd name="connsiteY47" fmla="*/ 59055 h 51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37670" h="514970">
                <a:moveTo>
                  <a:pt x="778616" y="59055"/>
                </a:moveTo>
                <a:cubicBezTo>
                  <a:pt x="770996" y="25718"/>
                  <a:pt x="740516" y="0"/>
                  <a:pt x="704321" y="0"/>
                </a:cubicBezTo>
                <a:lnTo>
                  <a:pt x="651933" y="0"/>
                </a:lnTo>
                <a:lnTo>
                  <a:pt x="641456" y="60960"/>
                </a:lnTo>
                <a:cubicBezTo>
                  <a:pt x="640503" y="66675"/>
                  <a:pt x="640503" y="73343"/>
                  <a:pt x="643361" y="79057"/>
                </a:cubicBezTo>
                <a:cubicBezTo>
                  <a:pt x="647171" y="87630"/>
                  <a:pt x="655743" y="93345"/>
                  <a:pt x="664316" y="95250"/>
                </a:cubicBezTo>
                <a:cubicBezTo>
                  <a:pt x="673841" y="97155"/>
                  <a:pt x="683366" y="94298"/>
                  <a:pt x="690033" y="86678"/>
                </a:cubicBezTo>
                <a:cubicBezTo>
                  <a:pt x="693843" y="81915"/>
                  <a:pt x="696701" y="76200"/>
                  <a:pt x="697653" y="70485"/>
                </a:cubicBezTo>
                <a:lnTo>
                  <a:pt x="704321" y="34290"/>
                </a:lnTo>
                <a:cubicBezTo>
                  <a:pt x="705273" y="29528"/>
                  <a:pt x="710036" y="25718"/>
                  <a:pt x="715751" y="26670"/>
                </a:cubicBezTo>
                <a:cubicBezTo>
                  <a:pt x="720513" y="27622"/>
                  <a:pt x="724323" y="32385"/>
                  <a:pt x="723371" y="38100"/>
                </a:cubicBezTo>
                <a:lnTo>
                  <a:pt x="717656" y="73343"/>
                </a:lnTo>
                <a:cubicBezTo>
                  <a:pt x="715751" y="86678"/>
                  <a:pt x="708131" y="99060"/>
                  <a:pt x="696701" y="106680"/>
                </a:cubicBezTo>
                <a:cubicBezTo>
                  <a:pt x="689081" y="112395"/>
                  <a:pt x="679556" y="114300"/>
                  <a:pt x="670031" y="114300"/>
                </a:cubicBezTo>
                <a:cubicBezTo>
                  <a:pt x="667173" y="114300"/>
                  <a:pt x="664316" y="114300"/>
                  <a:pt x="661458" y="113348"/>
                </a:cubicBezTo>
                <a:cubicBezTo>
                  <a:pt x="647171" y="110490"/>
                  <a:pt x="635741" y="102870"/>
                  <a:pt x="628121" y="90488"/>
                </a:cubicBezTo>
                <a:cubicBezTo>
                  <a:pt x="622406" y="80010"/>
                  <a:pt x="620501" y="68580"/>
                  <a:pt x="622406" y="57150"/>
                </a:cubicBezTo>
                <a:lnTo>
                  <a:pt x="630978" y="6668"/>
                </a:lnTo>
                <a:lnTo>
                  <a:pt x="564303" y="80010"/>
                </a:lnTo>
                <a:cubicBezTo>
                  <a:pt x="550968" y="95250"/>
                  <a:pt x="530013" y="104775"/>
                  <a:pt x="509058" y="104775"/>
                </a:cubicBezTo>
                <a:lnTo>
                  <a:pt x="237596" y="104775"/>
                </a:lnTo>
                <a:cubicBezTo>
                  <a:pt x="212831" y="104775"/>
                  <a:pt x="189971" y="114300"/>
                  <a:pt x="172826" y="130493"/>
                </a:cubicBezTo>
                <a:cubicBezTo>
                  <a:pt x="140441" y="124777"/>
                  <a:pt x="86148" y="107632"/>
                  <a:pt x="53763" y="53340"/>
                </a:cubicBezTo>
                <a:cubicBezTo>
                  <a:pt x="46143" y="40005"/>
                  <a:pt x="28998" y="34290"/>
                  <a:pt x="15663" y="40957"/>
                </a:cubicBezTo>
                <a:cubicBezTo>
                  <a:pt x="423" y="48578"/>
                  <a:pt x="-4339" y="66675"/>
                  <a:pt x="4233" y="80963"/>
                </a:cubicBezTo>
                <a:cubicBezTo>
                  <a:pt x="42333" y="145733"/>
                  <a:pt x="101388" y="171450"/>
                  <a:pt x="145203" y="182880"/>
                </a:cubicBezTo>
                <a:cubicBezTo>
                  <a:pt x="143298" y="188595"/>
                  <a:pt x="142346" y="194310"/>
                  <a:pt x="142346" y="200025"/>
                </a:cubicBezTo>
                <a:lnTo>
                  <a:pt x="142346" y="484823"/>
                </a:lnTo>
                <a:cubicBezTo>
                  <a:pt x="142346" y="499110"/>
                  <a:pt x="151871" y="511492"/>
                  <a:pt x="165206" y="514350"/>
                </a:cubicBezTo>
                <a:cubicBezTo>
                  <a:pt x="183303" y="518160"/>
                  <a:pt x="199496" y="503873"/>
                  <a:pt x="199496" y="486728"/>
                </a:cubicBezTo>
                <a:lnTo>
                  <a:pt x="199496" y="304800"/>
                </a:lnTo>
                <a:lnTo>
                  <a:pt x="329036" y="304800"/>
                </a:lnTo>
                <a:cubicBezTo>
                  <a:pt x="349038" y="321945"/>
                  <a:pt x="385233" y="333375"/>
                  <a:pt x="428096" y="333375"/>
                </a:cubicBezTo>
                <a:cubicBezTo>
                  <a:pt x="428096" y="333375"/>
                  <a:pt x="444288" y="333375"/>
                  <a:pt x="466196" y="333375"/>
                </a:cubicBezTo>
                <a:lnTo>
                  <a:pt x="466196" y="483870"/>
                </a:lnTo>
                <a:cubicBezTo>
                  <a:pt x="466196" y="499110"/>
                  <a:pt x="477626" y="513398"/>
                  <a:pt x="492866" y="514350"/>
                </a:cubicBezTo>
                <a:cubicBezTo>
                  <a:pt x="509058" y="515303"/>
                  <a:pt x="523346" y="501967"/>
                  <a:pt x="523346" y="485775"/>
                </a:cubicBezTo>
                <a:lnTo>
                  <a:pt x="523346" y="333375"/>
                </a:lnTo>
                <a:lnTo>
                  <a:pt x="561446" y="333375"/>
                </a:lnTo>
                <a:lnTo>
                  <a:pt x="561446" y="484823"/>
                </a:lnTo>
                <a:cubicBezTo>
                  <a:pt x="561446" y="499110"/>
                  <a:pt x="570971" y="511492"/>
                  <a:pt x="584306" y="514350"/>
                </a:cubicBezTo>
                <a:cubicBezTo>
                  <a:pt x="602403" y="518160"/>
                  <a:pt x="618596" y="503873"/>
                  <a:pt x="618596" y="486728"/>
                </a:cubicBezTo>
                <a:lnTo>
                  <a:pt x="618596" y="309563"/>
                </a:lnTo>
                <a:cubicBezTo>
                  <a:pt x="641456" y="280988"/>
                  <a:pt x="656696" y="238125"/>
                  <a:pt x="656696" y="238125"/>
                </a:cubicBezTo>
                <a:lnTo>
                  <a:pt x="694796" y="142875"/>
                </a:lnTo>
                <a:lnTo>
                  <a:pt x="780521" y="142875"/>
                </a:lnTo>
                <a:cubicBezTo>
                  <a:pt x="811953" y="142875"/>
                  <a:pt x="837671" y="117157"/>
                  <a:pt x="837671" y="85725"/>
                </a:cubicBezTo>
                <a:lnTo>
                  <a:pt x="778616" y="59055"/>
                </a:lnTo>
                <a:close/>
              </a:path>
            </a:pathLst>
          </a:custGeom>
          <a:solidFill>
            <a:srgbClr val="046A3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DED4C6C1-34B4-6EB4-4AC9-75DDF05883B4}"/>
              </a:ext>
            </a:extLst>
          </p:cNvPr>
          <p:cNvSpPr/>
          <p:nvPr/>
        </p:nvSpPr>
        <p:spPr>
          <a:xfrm>
            <a:off x="6844662" y="3175690"/>
            <a:ext cx="57150" cy="190500"/>
          </a:xfrm>
          <a:custGeom>
            <a:avLst/>
            <a:gdLst>
              <a:gd name="connsiteX0" fmla="*/ 0 w 57150"/>
              <a:gd name="connsiteY0" fmla="*/ 161925 h 190500"/>
              <a:gd name="connsiteX1" fmla="*/ 28575 w 57150"/>
              <a:gd name="connsiteY1" fmla="*/ 190500 h 190500"/>
              <a:gd name="connsiteX2" fmla="*/ 57150 w 57150"/>
              <a:gd name="connsiteY2" fmla="*/ 161925 h 190500"/>
              <a:gd name="connsiteX3" fmla="*/ 57150 w 57150"/>
              <a:gd name="connsiteY3" fmla="*/ 0 h 190500"/>
              <a:gd name="connsiteX4" fmla="*/ 0 w 57150"/>
              <a:gd name="connsiteY4" fmla="*/ 0 h 190500"/>
              <a:gd name="connsiteX5" fmla="*/ 0 w 57150"/>
              <a:gd name="connsiteY5" fmla="*/ 161925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50" h="190500">
                <a:moveTo>
                  <a:pt x="0" y="161925"/>
                </a:moveTo>
                <a:cubicBezTo>
                  <a:pt x="0" y="178117"/>
                  <a:pt x="12382" y="190500"/>
                  <a:pt x="28575" y="190500"/>
                </a:cubicBezTo>
                <a:cubicBezTo>
                  <a:pt x="44768" y="190500"/>
                  <a:pt x="57150" y="178117"/>
                  <a:pt x="57150" y="161925"/>
                </a:cubicBezTo>
                <a:lnTo>
                  <a:pt x="57150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56CA8B65-B543-1ED9-5F4A-18DF99509B57}"/>
              </a:ext>
            </a:extLst>
          </p:cNvPr>
          <p:cNvSpPr/>
          <p:nvPr/>
        </p:nvSpPr>
        <p:spPr>
          <a:xfrm>
            <a:off x="4648803" y="3918629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01B4D5F9-7BFF-A84D-3D38-E88685DF67B2}"/>
              </a:ext>
            </a:extLst>
          </p:cNvPr>
          <p:cNvSpPr/>
          <p:nvPr/>
        </p:nvSpPr>
        <p:spPr>
          <a:xfrm>
            <a:off x="4804135" y="4272254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F07CD663-708F-8BF0-A46D-F1B88575F5AD}"/>
              </a:ext>
            </a:extLst>
          </p:cNvPr>
          <p:cNvSpPr/>
          <p:nvPr/>
        </p:nvSpPr>
        <p:spPr>
          <a:xfrm>
            <a:off x="4968010" y="4295541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F0BA4A35-13AD-4882-2EA3-0B84B8F36571}"/>
              </a:ext>
            </a:extLst>
          </p:cNvPr>
          <p:cNvSpPr/>
          <p:nvPr/>
        </p:nvSpPr>
        <p:spPr>
          <a:xfrm>
            <a:off x="4853555" y="4225723"/>
            <a:ext cx="655613" cy="483000"/>
          </a:xfrm>
          <a:custGeom>
            <a:avLst/>
            <a:gdLst>
              <a:gd name="connsiteX0" fmla="*/ 640056 w 655613"/>
              <a:gd name="connsiteY0" fmla="*/ 70725 h 483000"/>
              <a:gd name="connsiteX1" fmla="*/ 571056 w 655613"/>
              <a:gd name="connsiteY1" fmla="*/ 8625 h 483000"/>
              <a:gd name="connsiteX2" fmla="*/ 547769 w 655613"/>
              <a:gd name="connsiteY2" fmla="*/ 0 h 483000"/>
              <a:gd name="connsiteX3" fmla="*/ 440819 w 655613"/>
              <a:gd name="connsiteY3" fmla="*/ 0 h 483000"/>
              <a:gd name="connsiteX4" fmla="*/ 422706 w 655613"/>
              <a:gd name="connsiteY4" fmla="*/ 13800 h 483000"/>
              <a:gd name="connsiteX5" fmla="*/ 427019 w 655613"/>
              <a:gd name="connsiteY5" fmla="*/ 27600 h 483000"/>
              <a:gd name="connsiteX6" fmla="*/ 439956 w 655613"/>
              <a:gd name="connsiteY6" fmla="*/ 33637 h 483000"/>
              <a:gd name="connsiteX7" fmla="*/ 474456 w 655613"/>
              <a:gd name="connsiteY7" fmla="*/ 33637 h 483000"/>
              <a:gd name="connsiteX8" fmla="*/ 474456 w 655613"/>
              <a:gd name="connsiteY8" fmla="*/ 42262 h 483000"/>
              <a:gd name="connsiteX9" fmla="*/ 458931 w 655613"/>
              <a:gd name="connsiteY9" fmla="*/ 55200 h 483000"/>
              <a:gd name="connsiteX10" fmla="*/ 402006 w 655613"/>
              <a:gd name="connsiteY10" fmla="*/ 73313 h 483000"/>
              <a:gd name="connsiteX11" fmla="*/ 368369 w 655613"/>
              <a:gd name="connsiteY11" fmla="*/ 59512 h 483000"/>
              <a:gd name="connsiteX12" fmla="*/ 336456 w 655613"/>
              <a:gd name="connsiteY12" fmla="*/ 76763 h 483000"/>
              <a:gd name="connsiteX13" fmla="*/ 301956 w 655613"/>
              <a:gd name="connsiteY13" fmla="*/ 59512 h 483000"/>
              <a:gd name="connsiteX14" fmla="*/ 267456 w 655613"/>
              <a:gd name="connsiteY14" fmla="*/ 76763 h 483000"/>
              <a:gd name="connsiteX15" fmla="*/ 232956 w 655613"/>
              <a:gd name="connsiteY15" fmla="*/ 59512 h 483000"/>
              <a:gd name="connsiteX16" fmla="*/ 198456 w 655613"/>
              <a:gd name="connsiteY16" fmla="*/ 76763 h 483000"/>
              <a:gd name="connsiteX17" fmla="*/ 161369 w 655613"/>
              <a:gd name="connsiteY17" fmla="*/ 59512 h 483000"/>
              <a:gd name="connsiteX18" fmla="*/ 126869 w 655613"/>
              <a:gd name="connsiteY18" fmla="*/ 81938 h 483000"/>
              <a:gd name="connsiteX19" fmla="*/ 83744 w 655613"/>
              <a:gd name="connsiteY19" fmla="*/ 69863 h 483000"/>
              <a:gd name="connsiteX20" fmla="*/ 53556 w 655613"/>
              <a:gd name="connsiteY20" fmla="*/ 102638 h 483000"/>
              <a:gd name="connsiteX21" fmla="*/ 51831 w 655613"/>
              <a:gd name="connsiteY21" fmla="*/ 102638 h 483000"/>
              <a:gd name="connsiteX22" fmla="*/ 13019 w 655613"/>
              <a:gd name="connsiteY22" fmla="*/ 126788 h 483000"/>
              <a:gd name="connsiteX23" fmla="*/ 17331 w 655613"/>
              <a:gd name="connsiteY23" fmla="*/ 171638 h 483000"/>
              <a:gd name="connsiteX24" fmla="*/ 81 w 655613"/>
              <a:gd name="connsiteY24" fmla="*/ 209588 h 483000"/>
              <a:gd name="connsiteX25" fmla="*/ 23369 w 655613"/>
              <a:gd name="connsiteY25" fmla="*/ 244088 h 483000"/>
              <a:gd name="connsiteX26" fmla="*/ 22506 w 655613"/>
              <a:gd name="connsiteY26" fmla="*/ 287213 h 483000"/>
              <a:gd name="connsiteX27" fmla="*/ 60456 w 655613"/>
              <a:gd name="connsiteY27" fmla="*/ 310500 h 483000"/>
              <a:gd name="connsiteX28" fmla="*/ 69081 w 655613"/>
              <a:gd name="connsiteY28" fmla="*/ 309638 h 483000"/>
              <a:gd name="connsiteX29" fmla="*/ 69081 w 655613"/>
              <a:gd name="connsiteY29" fmla="*/ 457125 h 483000"/>
              <a:gd name="connsiteX30" fmla="*/ 94956 w 655613"/>
              <a:gd name="connsiteY30" fmla="*/ 483000 h 483000"/>
              <a:gd name="connsiteX31" fmla="*/ 120831 w 655613"/>
              <a:gd name="connsiteY31" fmla="*/ 457125 h 483000"/>
              <a:gd name="connsiteX32" fmla="*/ 120831 w 655613"/>
              <a:gd name="connsiteY32" fmla="*/ 332925 h 483000"/>
              <a:gd name="connsiteX33" fmla="*/ 163956 w 655613"/>
              <a:gd name="connsiteY33" fmla="*/ 327750 h 483000"/>
              <a:gd name="connsiteX34" fmla="*/ 192419 w 655613"/>
              <a:gd name="connsiteY34" fmla="*/ 345000 h 483000"/>
              <a:gd name="connsiteX35" fmla="*/ 224331 w 655613"/>
              <a:gd name="connsiteY35" fmla="*/ 336375 h 483000"/>
              <a:gd name="connsiteX36" fmla="*/ 252794 w 655613"/>
              <a:gd name="connsiteY36" fmla="*/ 353625 h 483000"/>
              <a:gd name="connsiteX37" fmla="*/ 284706 w 655613"/>
              <a:gd name="connsiteY37" fmla="*/ 345000 h 483000"/>
              <a:gd name="connsiteX38" fmla="*/ 313169 w 655613"/>
              <a:gd name="connsiteY38" fmla="*/ 362250 h 483000"/>
              <a:gd name="connsiteX39" fmla="*/ 345081 w 655613"/>
              <a:gd name="connsiteY39" fmla="*/ 353625 h 483000"/>
              <a:gd name="connsiteX40" fmla="*/ 373544 w 655613"/>
              <a:gd name="connsiteY40" fmla="*/ 370875 h 483000"/>
              <a:gd name="connsiteX41" fmla="*/ 405456 w 655613"/>
              <a:gd name="connsiteY41" fmla="*/ 362250 h 483000"/>
              <a:gd name="connsiteX42" fmla="*/ 405456 w 655613"/>
              <a:gd name="connsiteY42" fmla="*/ 457125 h 483000"/>
              <a:gd name="connsiteX43" fmla="*/ 431331 w 655613"/>
              <a:gd name="connsiteY43" fmla="*/ 483000 h 483000"/>
              <a:gd name="connsiteX44" fmla="*/ 457206 w 655613"/>
              <a:gd name="connsiteY44" fmla="*/ 457125 h 483000"/>
              <a:gd name="connsiteX45" fmla="*/ 457206 w 655613"/>
              <a:gd name="connsiteY45" fmla="*/ 358800 h 483000"/>
              <a:gd name="connsiteX46" fmla="*/ 482219 w 655613"/>
              <a:gd name="connsiteY46" fmla="*/ 326888 h 483000"/>
              <a:gd name="connsiteX47" fmla="*/ 522756 w 655613"/>
              <a:gd name="connsiteY47" fmla="*/ 314813 h 483000"/>
              <a:gd name="connsiteX48" fmla="*/ 532244 w 655613"/>
              <a:gd name="connsiteY48" fmla="*/ 273413 h 483000"/>
              <a:gd name="connsiteX49" fmla="*/ 557256 w 655613"/>
              <a:gd name="connsiteY49" fmla="*/ 247538 h 483000"/>
              <a:gd name="connsiteX50" fmla="*/ 553806 w 655613"/>
              <a:gd name="connsiteY50" fmla="*/ 211313 h 483000"/>
              <a:gd name="connsiteX51" fmla="*/ 577094 w 655613"/>
              <a:gd name="connsiteY51" fmla="*/ 178538 h 483000"/>
              <a:gd name="connsiteX52" fmla="*/ 562431 w 655613"/>
              <a:gd name="connsiteY52" fmla="*/ 140588 h 483000"/>
              <a:gd name="connsiteX53" fmla="*/ 569331 w 655613"/>
              <a:gd name="connsiteY53" fmla="*/ 120750 h 483000"/>
              <a:gd name="connsiteX54" fmla="*/ 628844 w 655613"/>
              <a:gd name="connsiteY54" fmla="*/ 120750 h 483000"/>
              <a:gd name="connsiteX55" fmla="*/ 655581 w 655613"/>
              <a:gd name="connsiteY55" fmla="*/ 97462 h 483000"/>
              <a:gd name="connsiteX56" fmla="*/ 640056 w 655613"/>
              <a:gd name="connsiteY56" fmla="*/ 70725 h 48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55613" h="483000">
                <a:moveTo>
                  <a:pt x="640056" y="70725"/>
                </a:moveTo>
                <a:lnTo>
                  <a:pt x="571056" y="8625"/>
                </a:lnTo>
                <a:cubicBezTo>
                  <a:pt x="565019" y="2587"/>
                  <a:pt x="556394" y="0"/>
                  <a:pt x="547769" y="0"/>
                </a:cubicBezTo>
                <a:lnTo>
                  <a:pt x="440819" y="0"/>
                </a:lnTo>
                <a:cubicBezTo>
                  <a:pt x="432194" y="0"/>
                  <a:pt x="424431" y="5175"/>
                  <a:pt x="422706" y="13800"/>
                </a:cubicBezTo>
                <a:cubicBezTo>
                  <a:pt x="421844" y="18975"/>
                  <a:pt x="423569" y="24150"/>
                  <a:pt x="427019" y="27600"/>
                </a:cubicBezTo>
                <a:cubicBezTo>
                  <a:pt x="430469" y="31913"/>
                  <a:pt x="435644" y="33637"/>
                  <a:pt x="439956" y="33637"/>
                </a:cubicBezTo>
                <a:lnTo>
                  <a:pt x="474456" y="33637"/>
                </a:lnTo>
                <a:lnTo>
                  <a:pt x="474456" y="42262"/>
                </a:lnTo>
                <a:lnTo>
                  <a:pt x="458931" y="55200"/>
                </a:lnTo>
                <a:cubicBezTo>
                  <a:pt x="438231" y="44850"/>
                  <a:pt x="413219" y="52613"/>
                  <a:pt x="402006" y="73313"/>
                </a:cubicBezTo>
                <a:cubicBezTo>
                  <a:pt x="393381" y="63825"/>
                  <a:pt x="381306" y="58650"/>
                  <a:pt x="368369" y="59512"/>
                </a:cubicBezTo>
                <a:cubicBezTo>
                  <a:pt x="355431" y="60375"/>
                  <a:pt x="344219" y="66413"/>
                  <a:pt x="336456" y="76763"/>
                </a:cubicBezTo>
                <a:cubicBezTo>
                  <a:pt x="328694" y="65550"/>
                  <a:pt x="315756" y="59512"/>
                  <a:pt x="301956" y="59512"/>
                </a:cubicBezTo>
                <a:cubicBezTo>
                  <a:pt x="288156" y="59512"/>
                  <a:pt x="275219" y="65550"/>
                  <a:pt x="267456" y="76763"/>
                </a:cubicBezTo>
                <a:cubicBezTo>
                  <a:pt x="259694" y="65550"/>
                  <a:pt x="246756" y="59512"/>
                  <a:pt x="232956" y="59512"/>
                </a:cubicBezTo>
                <a:cubicBezTo>
                  <a:pt x="219156" y="59512"/>
                  <a:pt x="206219" y="65550"/>
                  <a:pt x="198456" y="76763"/>
                </a:cubicBezTo>
                <a:cubicBezTo>
                  <a:pt x="189831" y="64688"/>
                  <a:pt x="176031" y="58650"/>
                  <a:pt x="161369" y="59512"/>
                </a:cubicBezTo>
                <a:cubicBezTo>
                  <a:pt x="146706" y="60375"/>
                  <a:pt x="133769" y="69000"/>
                  <a:pt x="126869" y="81938"/>
                </a:cubicBezTo>
                <a:cubicBezTo>
                  <a:pt x="115656" y="69863"/>
                  <a:pt x="99269" y="65550"/>
                  <a:pt x="83744" y="69863"/>
                </a:cubicBezTo>
                <a:cubicBezTo>
                  <a:pt x="68219" y="74175"/>
                  <a:pt x="56144" y="87113"/>
                  <a:pt x="53556" y="102638"/>
                </a:cubicBezTo>
                <a:lnTo>
                  <a:pt x="51831" y="102638"/>
                </a:lnTo>
                <a:cubicBezTo>
                  <a:pt x="35444" y="102638"/>
                  <a:pt x="20781" y="112125"/>
                  <a:pt x="13019" y="126788"/>
                </a:cubicBezTo>
                <a:cubicBezTo>
                  <a:pt x="6119" y="141450"/>
                  <a:pt x="6981" y="158700"/>
                  <a:pt x="17331" y="171638"/>
                </a:cubicBezTo>
                <a:cubicBezTo>
                  <a:pt x="5256" y="180263"/>
                  <a:pt x="-781" y="194925"/>
                  <a:pt x="81" y="209588"/>
                </a:cubicBezTo>
                <a:cubicBezTo>
                  <a:pt x="944" y="224250"/>
                  <a:pt x="10431" y="237188"/>
                  <a:pt x="23369" y="244088"/>
                </a:cubicBezTo>
                <a:cubicBezTo>
                  <a:pt x="15606" y="257025"/>
                  <a:pt x="15606" y="274275"/>
                  <a:pt x="22506" y="287213"/>
                </a:cubicBezTo>
                <a:cubicBezTo>
                  <a:pt x="30269" y="301875"/>
                  <a:pt x="44931" y="310500"/>
                  <a:pt x="60456" y="310500"/>
                </a:cubicBezTo>
                <a:cubicBezTo>
                  <a:pt x="63044" y="310500"/>
                  <a:pt x="66494" y="310500"/>
                  <a:pt x="69081" y="309638"/>
                </a:cubicBezTo>
                <a:lnTo>
                  <a:pt x="69081" y="457125"/>
                </a:lnTo>
                <a:cubicBezTo>
                  <a:pt x="69081" y="471787"/>
                  <a:pt x="80294" y="483000"/>
                  <a:pt x="94956" y="483000"/>
                </a:cubicBezTo>
                <a:cubicBezTo>
                  <a:pt x="109619" y="483000"/>
                  <a:pt x="120831" y="471787"/>
                  <a:pt x="120831" y="457125"/>
                </a:cubicBezTo>
                <a:lnTo>
                  <a:pt x="120831" y="332925"/>
                </a:lnTo>
                <a:cubicBezTo>
                  <a:pt x="135494" y="338963"/>
                  <a:pt x="151881" y="337238"/>
                  <a:pt x="163956" y="327750"/>
                </a:cubicBezTo>
                <a:cubicBezTo>
                  <a:pt x="170856" y="337238"/>
                  <a:pt x="181206" y="343275"/>
                  <a:pt x="192419" y="345000"/>
                </a:cubicBezTo>
                <a:cubicBezTo>
                  <a:pt x="203631" y="346725"/>
                  <a:pt x="215706" y="343275"/>
                  <a:pt x="224331" y="336375"/>
                </a:cubicBezTo>
                <a:cubicBezTo>
                  <a:pt x="231231" y="345863"/>
                  <a:pt x="241581" y="351900"/>
                  <a:pt x="252794" y="353625"/>
                </a:cubicBezTo>
                <a:cubicBezTo>
                  <a:pt x="264006" y="355350"/>
                  <a:pt x="276081" y="351900"/>
                  <a:pt x="284706" y="345000"/>
                </a:cubicBezTo>
                <a:cubicBezTo>
                  <a:pt x="291606" y="354488"/>
                  <a:pt x="301956" y="360525"/>
                  <a:pt x="313169" y="362250"/>
                </a:cubicBezTo>
                <a:cubicBezTo>
                  <a:pt x="324381" y="363975"/>
                  <a:pt x="336456" y="360525"/>
                  <a:pt x="345081" y="353625"/>
                </a:cubicBezTo>
                <a:cubicBezTo>
                  <a:pt x="351981" y="363113"/>
                  <a:pt x="362331" y="369150"/>
                  <a:pt x="373544" y="370875"/>
                </a:cubicBezTo>
                <a:cubicBezTo>
                  <a:pt x="384756" y="372600"/>
                  <a:pt x="396831" y="369150"/>
                  <a:pt x="405456" y="362250"/>
                </a:cubicBezTo>
                <a:lnTo>
                  <a:pt x="405456" y="457125"/>
                </a:lnTo>
                <a:cubicBezTo>
                  <a:pt x="405456" y="471787"/>
                  <a:pt x="416669" y="483000"/>
                  <a:pt x="431331" y="483000"/>
                </a:cubicBezTo>
                <a:cubicBezTo>
                  <a:pt x="445994" y="483000"/>
                  <a:pt x="457206" y="471787"/>
                  <a:pt x="457206" y="457125"/>
                </a:cubicBezTo>
                <a:lnTo>
                  <a:pt x="457206" y="358800"/>
                </a:lnTo>
                <a:cubicBezTo>
                  <a:pt x="470144" y="352763"/>
                  <a:pt x="479631" y="340688"/>
                  <a:pt x="482219" y="326888"/>
                </a:cubicBezTo>
                <a:cubicBezTo>
                  <a:pt x="496881" y="330338"/>
                  <a:pt x="512406" y="326025"/>
                  <a:pt x="522756" y="314813"/>
                </a:cubicBezTo>
                <a:cubicBezTo>
                  <a:pt x="533106" y="303600"/>
                  <a:pt x="536556" y="288075"/>
                  <a:pt x="532244" y="273413"/>
                </a:cubicBezTo>
                <a:cubicBezTo>
                  <a:pt x="544319" y="269100"/>
                  <a:pt x="552944" y="259612"/>
                  <a:pt x="557256" y="247538"/>
                </a:cubicBezTo>
                <a:cubicBezTo>
                  <a:pt x="561569" y="235463"/>
                  <a:pt x="559844" y="222525"/>
                  <a:pt x="553806" y="211313"/>
                </a:cubicBezTo>
                <a:cubicBezTo>
                  <a:pt x="566744" y="204413"/>
                  <a:pt x="575369" y="192338"/>
                  <a:pt x="577094" y="178538"/>
                </a:cubicBezTo>
                <a:cubicBezTo>
                  <a:pt x="578819" y="164737"/>
                  <a:pt x="573644" y="150075"/>
                  <a:pt x="562431" y="140588"/>
                </a:cubicBezTo>
                <a:cubicBezTo>
                  <a:pt x="567606" y="128513"/>
                  <a:pt x="569331" y="120750"/>
                  <a:pt x="569331" y="120750"/>
                </a:cubicBezTo>
                <a:lnTo>
                  <a:pt x="628844" y="120750"/>
                </a:lnTo>
                <a:cubicBezTo>
                  <a:pt x="642644" y="120750"/>
                  <a:pt x="653856" y="111263"/>
                  <a:pt x="655581" y="97462"/>
                </a:cubicBezTo>
                <a:cubicBezTo>
                  <a:pt x="656444" y="85388"/>
                  <a:pt x="640056" y="70725"/>
                  <a:pt x="640056" y="70725"/>
                </a:cubicBez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0" name="Freihandform: Form 109">
            <a:extLst>
              <a:ext uri="{FF2B5EF4-FFF2-40B4-BE49-F238E27FC236}">
                <a16:creationId xmlns:a16="http://schemas.microsoft.com/office/drawing/2014/main" id="{841EC66F-FC8C-1C6C-1351-213E44B044D2}"/>
              </a:ext>
            </a:extLst>
          </p:cNvPr>
          <p:cNvSpPr/>
          <p:nvPr/>
        </p:nvSpPr>
        <p:spPr>
          <a:xfrm>
            <a:off x="5008887" y="4579348"/>
            <a:ext cx="51750" cy="129375"/>
          </a:xfrm>
          <a:custGeom>
            <a:avLst/>
            <a:gdLst>
              <a:gd name="connsiteX0" fmla="*/ 0 w 51750"/>
              <a:gd name="connsiteY0" fmla="*/ 103500 h 129375"/>
              <a:gd name="connsiteX1" fmla="*/ 25875 w 51750"/>
              <a:gd name="connsiteY1" fmla="*/ 129375 h 129375"/>
              <a:gd name="connsiteX2" fmla="*/ 51750 w 51750"/>
              <a:gd name="connsiteY2" fmla="*/ 103500 h 129375"/>
              <a:gd name="connsiteX3" fmla="*/ 51750 w 51750"/>
              <a:gd name="connsiteY3" fmla="*/ 4313 h 129375"/>
              <a:gd name="connsiteX4" fmla="*/ 0 w 51750"/>
              <a:gd name="connsiteY4" fmla="*/ 0 h 129375"/>
              <a:gd name="connsiteX5" fmla="*/ 0 w 51750"/>
              <a:gd name="connsiteY5" fmla="*/ 103500 h 12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29375">
                <a:moveTo>
                  <a:pt x="0" y="103500"/>
                </a:moveTo>
                <a:cubicBezTo>
                  <a:pt x="0" y="118162"/>
                  <a:pt x="11212" y="129375"/>
                  <a:pt x="25875" y="129375"/>
                </a:cubicBezTo>
                <a:cubicBezTo>
                  <a:pt x="40538" y="129375"/>
                  <a:pt x="51750" y="118162"/>
                  <a:pt x="51750" y="103500"/>
                </a:cubicBezTo>
                <a:lnTo>
                  <a:pt x="51750" y="4313"/>
                </a:lnTo>
                <a:lnTo>
                  <a:pt x="0" y="0"/>
                </a:lnTo>
                <a:lnTo>
                  <a:pt x="0" y="103500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812C3ADA-3AAA-83B1-7847-A9C781AC475B}"/>
              </a:ext>
            </a:extLst>
          </p:cNvPr>
          <p:cNvSpPr/>
          <p:nvPr/>
        </p:nvSpPr>
        <p:spPr>
          <a:xfrm>
            <a:off x="5172762" y="4602635"/>
            <a:ext cx="51750" cy="106087"/>
          </a:xfrm>
          <a:custGeom>
            <a:avLst/>
            <a:gdLst>
              <a:gd name="connsiteX0" fmla="*/ 0 w 51750"/>
              <a:gd name="connsiteY0" fmla="*/ 80212 h 106087"/>
              <a:gd name="connsiteX1" fmla="*/ 25875 w 51750"/>
              <a:gd name="connsiteY1" fmla="*/ 106087 h 106087"/>
              <a:gd name="connsiteX2" fmla="*/ 51750 w 51750"/>
              <a:gd name="connsiteY2" fmla="*/ 80212 h 106087"/>
              <a:gd name="connsiteX3" fmla="*/ 51750 w 51750"/>
              <a:gd name="connsiteY3" fmla="*/ 4312 h 106087"/>
              <a:gd name="connsiteX4" fmla="*/ 0 w 51750"/>
              <a:gd name="connsiteY4" fmla="*/ 0 h 106087"/>
              <a:gd name="connsiteX5" fmla="*/ 0 w 51750"/>
              <a:gd name="connsiteY5" fmla="*/ 80212 h 1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50" h="106087">
                <a:moveTo>
                  <a:pt x="0" y="80212"/>
                </a:moveTo>
                <a:cubicBezTo>
                  <a:pt x="0" y="94875"/>
                  <a:pt x="11212" y="106087"/>
                  <a:pt x="25875" y="106087"/>
                </a:cubicBezTo>
                <a:cubicBezTo>
                  <a:pt x="40538" y="106087"/>
                  <a:pt x="51750" y="94875"/>
                  <a:pt x="51750" y="80212"/>
                </a:cubicBezTo>
                <a:lnTo>
                  <a:pt x="51750" y="4312"/>
                </a:lnTo>
                <a:lnTo>
                  <a:pt x="0" y="0"/>
                </a:lnTo>
                <a:lnTo>
                  <a:pt x="0" y="80212"/>
                </a:lnTo>
                <a:close/>
              </a:path>
            </a:pathLst>
          </a:custGeom>
          <a:solidFill>
            <a:srgbClr val="0D8390"/>
          </a:solidFill>
          <a:ln w="853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hephearding</a:t>
            </a:r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</a:t>
            </a:r>
            <a:br>
              <a:rPr lang="de-DE" dirty="0"/>
            </a:br>
            <a:endParaRPr lang="de-DE" dirty="0"/>
          </a:p>
        </p:txBody>
      </p:sp>
      <p:sp>
        <p:nvSpPr>
          <p:cNvPr id="116" name="Rectangle 79">
            <a:extLst>
              <a:ext uri="{FF2B5EF4-FFF2-40B4-BE49-F238E27FC236}">
                <a16:creationId xmlns:a16="http://schemas.microsoft.com/office/drawing/2014/main" id="{34094A0E-465F-1ED5-C497-19C7BF0A62C3}"/>
              </a:ext>
            </a:extLst>
          </p:cNvPr>
          <p:cNvSpPr/>
          <p:nvPr/>
        </p:nvSpPr>
        <p:spPr>
          <a:xfrm>
            <a:off x="881443" y="1663585"/>
            <a:ext cx="2951805" cy="523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sz="1400" dirty="0"/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102943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6BAC33-0E17-A443-A36A-FE8E979162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525991"/>
            <a:ext cx="11277600" cy="334100"/>
          </a:xfrm>
        </p:spPr>
        <p:txBody>
          <a:bodyPr/>
          <a:lstStyle/>
          <a:p>
            <a:r>
              <a:rPr lang="en-US" sz="1100" b="0" i="1" dirty="0">
                <a:solidFill>
                  <a:srgbClr val="1F2328"/>
                </a:solidFill>
                <a:effectLst/>
                <a:latin typeface="-apple-system"/>
              </a:rPr>
              <a:t>*Optimal Shepherding and Transport of a Flock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 by A. Ranganathan, A. </a:t>
            </a:r>
            <a:r>
              <a:rPr lang="en-US" sz="1100" b="0" i="0" dirty="0" err="1">
                <a:solidFill>
                  <a:srgbClr val="1F2328"/>
                </a:solidFill>
                <a:effectLst/>
                <a:latin typeface="-apple-system"/>
              </a:rPr>
              <a:t>Heyde</a:t>
            </a:r>
            <a:r>
              <a:rPr lang="en-US" sz="1100" b="0" i="0" dirty="0">
                <a:solidFill>
                  <a:srgbClr val="1F2328"/>
                </a:solidFill>
                <a:effectLst/>
                <a:latin typeface="-apple-system"/>
              </a:rPr>
              <a:t>, A. Gupta, and L. Mahadevan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9971346" y="-596384"/>
            <a:ext cx="2160000" cy="1885192"/>
          </a:xfrm>
          <a:prstGeom prst="rect">
            <a:avLst/>
          </a:prstGeom>
          <a:ln>
            <a:noFill/>
          </a:ln>
        </p:spPr>
        <p:txBody>
          <a:bodyPr vert="horz" lIns="0" tIns="1044000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  <a:b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ardrop 126">
            <a:extLst>
              <a:ext uri="{FF2B5EF4-FFF2-40B4-BE49-F238E27FC236}">
                <a16:creationId xmlns:a16="http://schemas.microsoft.com/office/drawing/2014/main" id="{8700C81D-8B09-45CB-9BA7-46CE17AC84C4}"/>
              </a:ext>
            </a:extLst>
          </p:cNvPr>
          <p:cNvSpPr/>
          <p:nvPr/>
        </p:nvSpPr>
        <p:spPr bwMode="gray">
          <a:xfrm rot="8100000">
            <a:off x="10322479" y="-1695201"/>
            <a:ext cx="1503841" cy="1503844"/>
          </a:xfrm>
          <a:prstGeom prst="teardrop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27">
            <a:extLst>
              <a:ext uri="{FF2B5EF4-FFF2-40B4-BE49-F238E27FC236}">
                <a16:creationId xmlns:a16="http://schemas.microsoft.com/office/drawing/2014/main" id="{3462ED85-0C05-4CE2-AE44-6035A8D1A9C4}"/>
              </a:ext>
            </a:extLst>
          </p:cNvPr>
          <p:cNvSpPr/>
          <p:nvPr/>
        </p:nvSpPr>
        <p:spPr bwMode="gray">
          <a:xfrm>
            <a:off x="10275139" y="-561344"/>
            <a:ext cx="1598523" cy="871908"/>
          </a:xfrm>
          <a:custGeom>
            <a:avLst/>
            <a:gdLst>
              <a:gd name="connsiteX0" fmla="*/ 0 w 2235812"/>
              <a:gd name="connsiteY0" fmla="*/ 0 h 1219515"/>
              <a:gd name="connsiteX1" fmla="*/ 135994 w 2235812"/>
              <a:gd name="connsiteY1" fmla="*/ 0 h 1219515"/>
              <a:gd name="connsiteX2" fmla="*/ 183908 w 2235812"/>
              <a:gd name="connsiteY2" fmla="*/ 81083 h 1219515"/>
              <a:gd name="connsiteX3" fmla="*/ 327199 w 2235812"/>
              <a:gd name="connsiteY3" fmla="*/ 256502 h 1219515"/>
              <a:gd name="connsiteX4" fmla="*/ 1117908 w 2235812"/>
              <a:gd name="connsiteY4" fmla="*/ 1047211 h 1219515"/>
              <a:gd name="connsiteX5" fmla="*/ 1908614 w 2235812"/>
              <a:gd name="connsiteY5" fmla="*/ 256504 h 1219515"/>
              <a:gd name="connsiteX6" fmla="*/ 2051905 w 2235812"/>
              <a:gd name="connsiteY6" fmla="*/ 81085 h 1219515"/>
              <a:gd name="connsiteX7" fmla="*/ 2099821 w 2235812"/>
              <a:gd name="connsiteY7" fmla="*/ 0 h 1219515"/>
              <a:gd name="connsiteX8" fmla="*/ 2235812 w 2235812"/>
              <a:gd name="connsiteY8" fmla="*/ 0 h 1219515"/>
              <a:gd name="connsiteX9" fmla="*/ 2216094 w 2235812"/>
              <a:gd name="connsiteY9" fmla="*/ 42485 h 1219515"/>
              <a:gd name="connsiteX10" fmla="*/ 1994765 w 2235812"/>
              <a:gd name="connsiteY10" fmla="*/ 342657 h 1219515"/>
              <a:gd name="connsiteX11" fmla="*/ 1117907 w 2235812"/>
              <a:gd name="connsiteY11" fmla="*/ 1219515 h 1219515"/>
              <a:gd name="connsiteX12" fmla="*/ 241048 w 2235812"/>
              <a:gd name="connsiteY12" fmla="*/ 342656 h 1219515"/>
              <a:gd name="connsiteX13" fmla="*/ 19718 w 2235812"/>
              <a:gd name="connsiteY13" fmla="*/ 42483 h 121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5812" h="1219515">
                <a:moveTo>
                  <a:pt x="0" y="0"/>
                </a:moveTo>
                <a:lnTo>
                  <a:pt x="135994" y="0"/>
                </a:lnTo>
                <a:lnTo>
                  <a:pt x="183908" y="81083"/>
                </a:lnTo>
                <a:cubicBezTo>
                  <a:pt x="224849" y="143089"/>
                  <a:pt x="272612" y="201915"/>
                  <a:pt x="327199" y="256502"/>
                </a:cubicBezTo>
                <a:lnTo>
                  <a:pt x="1117908" y="1047211"/>
                </a:lnTo>
                <a:lnTo>
                  <a:pt x="1908614" y="256504"/>
                </a:lnTo>
                <a:cubicBezTo>
                  <a:pt x="1963201" y="201918"/>
                  <a:pt x="2010965" y="143091"/>
                  <a:pt x="2051905" y="81085"/>
                </a:cubicBezTo>
                <a:lnTo>
                  <a:pt x="2099821" y="0"/>
                </a:lnTo>
                <a:lnTo>
                  <a:pt x="2235812" y="0"/>
                </a:lnTo>
                <a:lnTo>
                  <a:pt x="2216094" y="42485"/>
                </a:lnTo>
                <a:cubicBezTo>
                  <a:pt x="2159343" y="150476"/>
                  <a:pt x="2085567" y="251855"/>
                  <a:pt x="1994765" y="342657"/>
                </a:cubicBezTo>
                <a:lnTo>
                  <a:pt x="1117907" y="1219515"/>
                </a:lnTo>
                <a:lnTo>
                  <a:pt x="241048" y="342656"/>
                </a:lnTo>
                <a:cubicBezTo>
                  <a:pt x="150246" y="251854"/>
                  <a:pt x="76469" y="150475"/>
                  <a:pt x="19718" y="42483"/>
                </a:cubicBezTo>
                <a:close/>
              </a:path>
            </a:pathLst>
          </a:cu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DFD0DB57-AC18-4EF1-907F-BF455E79E8D1}"/>
              </a:ext>
            </a:extLst>
          </p:cNvPr>
          <p:cNvSpPr/>
          <p:nvPr/>
        </p:nvSpPr>
        <p:spPr bwMode="gray">
          <a:xfrm>
            <a:off x="10514865" y="-1539414"/>
            <a:ext cx="1119070" cy="1119071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 err="1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2F53731-E09A-563B-9E9F-70FFB305F32D}"/>
              </a:ext>
            </a:extLst>
          </p:cNvPr>
          <p:cNvGrpSpPr/>
          <p:nvPr/>
        </p:nvGrpSpPr>
        <p:grpSpPr>
          <a:xfrm>
            <a:off x="10858399" y="-1255161"/>
            <a:ext cx="432000" cy="540000"/>
            <a:chOff x="5245642" y="2554895"/>
            <a:chExt cx="168678" cy="229229"/>
          </a:xfrm>
        </p:grpSpPr>
        <p:sp>
          <p:nvSpPr>
            <p:cNvPr id="21" name="Freeform 338">
              <a:extLst>
                <a:ext uri="{FF2B5EF4-FFF2-40B4-BE49-F238E27FC236}">
                  <a16:creationId xmlns:a16="http://schemas.microsoft.com/office/drawing/2014/main" id="{7FBFA655-8206-214E-7224-29FCDCD82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5642" y="2554895"/>
              <a:ext cx="168678" cy="229229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339">
              <a:extLst>
                <a:ext uri="{FF2B5EF4-FFF2-40B4-BE49-F238E27FC236}">
                  <a16:creationId xmlns:a16="http://schemas.microsoft.com/office/drawing/2014/main" id="{F448828B-0C5D-5918-4141-BB56AC548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38711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340">
              <a:extLst>
                <a:ext uri="{FF2B5EF4-FFF2-40B4-BE49-F238E27FC236}">
                  <a16:creationId xmlns:a16="http://schemas.microsoft.com/office/drawing/2014/main" id="{19067B06-6D85-9131-9AC4-615B9468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707354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341">
              <a:extLst>
                <a:ext uri="{FF2B5EF4-FFF2-40B4-BE49-F238E27FC236}">
                  <a16:creationId xmlns:a16="http://schemas.microsoft.com/office/drawing/2014/main" id="{0057A3B6-AD34-CB8C-78F6-F0F9923F2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77078"/>
              <a:ext cx="107045" cy="15138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342">
              <a:extLst>
                <a:ext uri="{FF2B5EF4-FFF2-40B4-BE49-F238E27FC236}">
                  <a16:creationId xmlns:a16="http://schemas.microsoft.com/office/drawing/2014/main" id="{318825A4-912A-062B-0A05-7CA6C0D76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917" y="2646803"/>
              <a:ext cx="107045" cy="15138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6="http://schemas.microsoft.com/office/drawing/2014/main" xmlns:p14="http://schemas.microsoft.com/office/powerpoint/2010/main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71" name="Rectangle 78">
            <a:extLst>
              <a:ext uri="{FF2B5EF4-FFF2-40B4-BE49-F238E27FC236}">
                <a16:creationId xmlns:a16="http://schemas.microsoft.com/office/drawing/2014/main" id="{69EC1DF7-A945-9554-1B47-5D6BCC793100}"/>
              </a:ext>
            </a:extLst>
          </p:cNvPr>
          <p:cNvSpPr/>
          <p:nvPr/>
        </p:nvSpPr>
        <p:spPr>
          <a:xfrm>
            <a:off x="872994" y="1319095"/>
            <a:ext cx="160274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0D8390"/>
                </a:solidFill>
              </a:rPr>
              <a:t>Agent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ea typeface="+mn-ea"/>
                <a:cs typeface="+mn-cs"/>
              </a:rPr>
              <a:t>Behaviour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D839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ext Placeholder 1">
            <a:extLst>
              <a:ext uri="{FF2B5EF4-FFF2-40B4-BE49-F238E27FC236}">
                <a16:creationId xmlns:a16="http://schemas.microsoft.com/office/drawing/2014/main" id="{13E66FF1-E53A-9FC8-81E5-48EBF7B54F63}"/>
              </a:ext>
            </a:extLst>
          </p:cNvPr>
          <p:cNvSpPr txBox="1">
            <a:spLocks/>
          </p:cNvSpPr>
          <p:nvPr/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730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2" name="Title 2">
            <a:extLst>
              <a:ext uri="{FF2B5EF4-FFF2-40B4-BE49-F238E27FC236}">
                <a16:creationId xmlns:a16="http://schemas.microsoft.com/office/drawing/2014/main" id="{0402D234-43C3-4A81-A5DE-722E3E0DA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295" y="345992"/>
            <a:ext cx="11277600" cy="334099"/>
          </a:xfrm>
        </p:spPr>
        <p:txBody>
          <a:bodyPr/>
          <a:lstStyle/>
          <a:p>
            <a:r>
              <a:rPr lang="de-DE" dirty="0"/>
              <a:t>Model Description – </a:t>
            </a:r>
            <a:r>
              <a:rPr lang="de-DE" dirty="0" err="1"/>
              <a:t>Behaviou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gents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D7264E-83BF-0DDC-2431-E6C675109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018" y="1880407"/>
            <a:ext cx="6863809" cy="57113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E92A5318-A8E2-1A4D-FC57-1498719C53B0}"/>
              </a:ext>
            </a:extLst>
          </p:cNvPr>
          <p:cNvSpPr/>
          <p:nvPr/>
        </p:nvSpPr>
        <p:spPr bwMode="gray">
          <a:xfrm>
            <a:off x="1654629" y="1880407"/>
            <a:ext cx="4299851" cy="3344736"/>
          </a:xfrm>
          <a:prstGeom prst="rect">
            <a:avLst/>
          </a:prstGeom>
          <a:solidFill>
            <a:srgbClr val="0D8390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C66EEE7C-C6D7-D23E-B53F-8226A1B22563}"/>
              </a:ext>
            </a:extLst>
          </p:cNvPr>
          <p:cNvSpPr/>
          <p:nvPr/>
        </p:nvSpPr>
        <p:spPr bwMode="gray">
          <a:xfrm>
            <a:off x="6035705" y="1880407"/>
            <a:ext cx="2603422" cy="3344736"/>
          </a:xfrm>
          <a:prstGeom prst="rect">
            <a:avLst/>
          </a:prstGeom>
          <a:solidFill>
            <a:srgbClr val="046A38">
              <a:alpha val="18000"/>
            </a:srgbClr>
          </a:solidFill>
          <a:ln w="19050" algn="ctr">
            <a:solidFill>
              <a:srgbClr val="0D839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1410067-C896-B916-E1DF-5B8176307AA2}"/>
              </a:ext>
            </a:extLst>
          </p:cNvPr>
          <p:cNvCxnSpPr>
            <a:cxnSpLocks/>
          </p:cNvCxnSpPr>
          <p:nvPr/>
        </p:nvCxnSpPr>
        <p:spPr>
          <a:xfrm rot="10800000">
            <a:off x="2264230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6196A370-EB53-E831-6815-55D28C21422E}"/>
              </a:ext>
            </a:extLst>
          </p:cNvPr>
          <p:cNvSpPr txBox="1"/>
          <p:nvPr/>
        </p:nvSpPr>
        <p:spPr>
          <a:xfrm>
            <a:off x="1791004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alignment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28E72B6-D51D-EAFA-576F-37DA46ACB9B0}"/>
              </a:ext>
            </a:extLst>
          </p:cNvPr>
          <p:cNvCxnSpPr>
            <a:cxnSpLocks/>
          </p:cNvCxnSpPr>
          <p:nvPr/>
        </p:nvCxnSpPr>
        <p:spPr>
          <a:xfrm rot="10800000">
            <a:off x="3709099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CB47800D-5F21-3091-8989-A7521D639921}"/>
              </a:ext>
            </a:extLst>
          </p:cNvPr>
          <p:cNvSpPr txBox="1"/>
          <p:nvPr/>
        </p:nvSpPr>
        <p:spPr>
          <a:xfrm>
            <a:off x="3058879" y="3934768"/>
            <a:ext cx="14884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Local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repulsion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B58C822-901A-75B9-3722-0B315CF6F78B}"/>
              </a:ext>
            </a:extLst>
          </p:cNvPr>
          <p:cNvCxnSpPr>
            <a:cxnSpLocks/>
          </p:cNvCxnSpPr>
          <p:nvPr/>
        </p:nvCxnSpPr>
        <p:spPr>
          <a:xfrm rot="10800000">
            <a:off x="5257807" y="2451541"/>
            <a:ext cx="0" cy="5638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C459DCD9-870F-1EDF-F19D-842908692306}"/>
              </a:ext>
            </a:extLst>
          </p:cNvPr>
          <p:cNvSpPr txBox="1"/>
          <p:nvPr/>
        </p:nvSpPr>
        <p:spPr>
          <a:xfrm>
            <a:off x="4607587" y="3061921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 err="1">
                <a:solidFill>
                  <a:srgbClr val="313131"/>
                </a:solidFill>
              </a:rPr>
              <a:t>Attraction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to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herd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center</a:t>
            </a:r>
            <a:endParaRPr lang="de-DE" dirty="0">
              <a:solidFill>
                <a:srgbClr val="313131"/>
              </a:solidFill>
            </a:endParaRP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21DDC10-97CD-6F9C-2768-0ECE7039EC5D}"/>
              </a:ext>
            </a:extLst>
          </p:cNvPr>
          <p:cNvCxnSpPr>
            <a:cxnSpLocks/>
          </p:cNvCxnSpPr>
          <p:nvPr/>
        </p:nvCxnSpPr>
        <p:spPr>
          <a:xfrm rot="10800000">
            <a:off x="6725047" y="2451541"/>
            <a:ext cx="0" cy="143664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F2A8D9C3-6CDB-1A36-50C3-A1741DDBDF24}"/>
              </a:ext>
            </a:extLst>
          </p:cNvPr>
          <p:cNvSpPr txBox="1"/>
          <p:nvPr/>
        </p:nvSpPr>
        <p:spPr>
          <a:xfrm>
            <a:off x="6074827" y="3934768"/>
            <a:ext cx="1488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313131"/>
                </a:solidFill>
              </a:rPr>
              <a:t>Repulsion </a:t>
            </a:r>
            <a:r>
              <a:rPr lang="de-DE" dirty="0" err="1">
                <a:solidFill>
                  <a:srgbClr val="313131"/>
                </a:solidFill>
              </a:rPr>
              <a:t>from</a:t>
            </a:r>
            <a:r>
              <a:rPr lang="de-DE" dirty="0">
                <a:solidFill>
                  <a:srgbClr val="313131"/>
                </a:solidFill>
              </a:rPr>
              <a:t> </a:t>
            </a:r>
            <a:r>
              <a:rPr lang="de-DE" dirty="0" err="1">
                <a:solidFill>
                  <a:srgbClr val="313131"/>
                </a:solidFill>
              </a:rPr>
              <a:t>shepherd</a:t>
            </a:r>
            <a:endParaRPr lang="de-DE" dirty="0">
              <a:solidFill>
                <a:srgbClr val="31313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5B09FBD-89D5-8A89-53C6-21FB725FD5FA}"/>
              </a:ext>
            </a:extLst>
          </p:cNvPr>
          <p:cNvSpPr txBox="1"/>
          <p:nvPr/>
        </p:nvSpPr>
        <p:spPr>
          <a:xfrm>
            <a:off x="2727585" y="4893903"/>
            <a:ext cx="2624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D8390"/>
                </a:solidFill>
              </a:rPr>
              <a:t>Agent-agent </a:t>
            </a:r>
            <a:r>
              <a:rPr lang="de-DE" dirty="0" err="1">
                <a:solidFill>
                  <a:srgbClr val="0D8390"/>
                </a:solidFill>
              </a:rPr>
              <a:t>interactions</a:t>
            </a:r>
            <a:endParaRPr lang="de-DE" dirty="0">
              <a:solidFill>
                <a:srgbClr val="0D8390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59DE5C9E-89A8-C8B6-5BCF-028B72F09842}"/>
              </a:ext>
            </a:extLst>
          </p:cNvPr>
          <p:cNvSpPr txBox="1"/>
          <p:nvPr/>
        </p:nvSpPr>
        <p:spPr>
          <a:xfrm>
            <a:off x="6074827" y="4893903"/>
            <a:ext cx="28732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de-DE" dirty="0">
                <a:solidFill>
                  <a:srgbClr val="046A38"/>
                </a:solidFill>
              </a:rPr>
              <a:t>Agent-</a:t>
            </a:r>
            <a:r>
              <a:rPr lang="de-DE" dirty="0" err="1">
                <a:solidFill>
                  <a:srgbClr val="046A38"/>
                </a:solidFill>
              </a:rPr>
              <a:t>shepherd</a:t>
            </a:r>
            <a:r>
              <a:rPr lang="de-DE" dirty="0">
                <a:solidFill>
                  <a:srgbClr val="046A38"/>
                </a:solidFill>
              </a:rPr>
              <a:t> </a:t>
            </a:r>
            <a:r>
              <a:rPr lang="de-DE" dirty="0" err="1">
                <a:solidFill>
                  <a:srgbClr val="046A38"/>
                </a:solidFill>
              </a:rPr>
              <a:t>interaction</a:t>
            </a:r>
            <a:endParaRPr lang="de-DE" dirty="0">
              <a:solidFill>
                <a:srgbClr val="046A38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/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𝑟𝑒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dirty="0" smtClean="0">
                          <a:solidFill>
                            <a:srgbClr val="31313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𝑤𝑒𝑖𝑔h𝑡𝑠</m:t>
                      </m:r>
                    </m:oMath>
                  </m:oMathPara>
                </a14:m>
                <a:endParaRPr lang="de-DE" dirty="0">
                  <a:solidFill>
                    <a:srgbClr val="313131"/>
                  </a:solidFill>
                </a:endParaRPr>
              </a:p>
            </p:txBody>
          </p:sp>
        </mc:Choice>
        <mc:Fallback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D2E337B8-84D0-F665-4476-DC2A1BD9A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28" y="5514645"/>
                <a:ext cx="2153410" cy="276999"/>
              </a:xfrm>
              <a:prstGeom prst="rect">
                <a:avLst/>
              </a:prstGeom>
              <a:blipFill>
                <a:blip r:embed="rId5"/>
                <a:stretch>
                  <a:fillRect l="-1133" t="-4444" r="-3399" b="-355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2081082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4" grpId="0"/>
      <p:bldP spid="39" grpId="0"/>
      <p:bldP spid="4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70c3be-cd08-4074-81f9-df7a3ea23cce"/>
  <p:tag name="MIO_EKGUID" val="db978016-3d8f-444c-8fba-9642e1068214"/>
  <p:tag name="MIO_UPDATE" val="True"/>
  <p:tag name="MIO_VERSION" val="13.04.2022 12:36:07"/>
  <p:tag name="MIO_DBID" val="fede6900-895c-4459-b97c-72b2b9dac459"/>
  <p:tag name="MIO_LASTDOWNLOADED" val="27.04.2022 08:14:16"/>
  <p:tag name="MIO_OBJECTNAME" val="Agenda (2)"/>
  <p:tag name="MIO_LASTEDITORNAME" val="Steffi Rau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2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9"/>
  <p:tag name="MIO_HDS" val="True"/>
  <p:tag name="MIO_SKIPVERSION" val="01.01.0001 00:00:00"/>
  <p:tag name="MIO_EKGUID" val="15e6b1f2-4f4a-4ffc-adb1-bb269b750cdb"/>
  <p:tag name="MIO_UPDATE" val="True"/>
  <p:tag name="MIO_VERSION" val="19.03.2021 10:24:30"/>
  <p:tag name="MIO_DBID" val="fede6900-895c-4459-b97c-72b2b9dac459"/>
  <p:tag name="MIO_LASTDOWNLOADED" val="19.03.2021 11:32:18.789"/>
  <p:tag name="MIO_OBJECTNAME" val="Deloitte 16:9 (2021)"/>
  <p:tag name="MIO_CDID" val="b832c4bc-5070-4232-bfdb-3d42c9da7c2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29</Words>
  <Application>Microsoft Office PowerPoint</Application>
  <PresentationFormat>Breitbild</PresentationFormat>
  <Paragraphs>147</Paragraphs>
  <Slides>19</Slides>
  <Notes>14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30" baseType="lpstr">
      <vt:lpstr>-apple-system</vt:lpstr>
      <vt:lpstr>Arial</vt:lpstr>
      <vt:lpstr>Calibri</vt:lpstr>
      <vt:lpstr>Calibri Light</vt:lpstr>
      <vt:lpstr>Cambria Math</vt:lpstr>
      <vt:lpstr>Google Sans</vt:lpstr>
      <vt:lpstr>Verdana</vt:lpstr>
      <vt:lpstr>Wingdings 2</vt:lpstr>
      <vt:lpstr>Office</vt:lpstr>
      <vt:lpstr>Deloitte Brand Theme</vt:lpstr>
      <vt:lpstr>think-cell Slide</vt:lpstr>
      <vt:lpstr>Collective Behavior  Optimal Shepherding  </vt:lpstr>
      <vt:lpstr>PowerPoint-Präsentation</vt:lpstr>
      <vt:lpstr>Agenda </vt:lpstr>
      <vt:lpstr>Introduction: Shepherding Problem</vt:lpstr>
      <vt:lpstr>Introduction: Shepherding Problem</vt:lpstr>
      <vt:lpstr>Introduction: Shepherding Problem</vt:lpstr>
      <vt:lpstr>Overview </vt:lpstr>
      <vt:lpstr>Model Description  </vt:lpstr>
      <vt:lpstr>Model Description – Behaviour of Agents</vt:lpstr>
      <vt:lpstr>Model Description – Behaviour of Shepherd</vt:lpstr>
      <vt:lpstr>Agenda </vt:lpstr>
      <vt:lpstr>Findings </vt:lpstr>
      <vt:lpstr>Videoexample: Mustering </vt:lpstr>
      <vt:lpstr>Overview </vt:lpstr>
      <vt:lpstr>Model Extensions</vt:lpstr>
      <vt:lpstr>Overview </vt:lpstr>
      <vt:lpstr>Results </vt:lpstr>
      <vt:lpstr>Results 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Behavior  Optimal Shephearding  </dc:title>
  <dc:creator>Franz Muszarsky</dc:creator>
  <cp:lastModifiedBy>Franz Muszarsky</cp:lastModifiedBy>
  <cp:revision>5</cp:revision>
  <dcterms:created xsi:type="dcterms:W3CDTF">2024-01-03T20:27:13Z</dcterms:created>
  <dcterms:modified xsi:type="dcterms:W3CDTF">2024-01-04T20:59:44Z</dcterms:modified>
</cp:coreProperties>
</file>